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5" r:id="rId1"/>
  </p:sldMasterIdLst>
  <p:notesMasterIdLst>
    <p:notesMasterId r:id="rId3"/>
  </p:notesMasterIdLst>
  <p:handoutMasterIdLst>
    <p:handoutMasterId r:id="rId4"/>
  </p:handoutMasterIdLst>
  <p:sldIdLst>
    <p:sldId id="2123" r:id="rId2"/>
  </p:sldIdLst>
  <p:sldSz cx="12192000" cy="6858000"/>
  <p:notesSz cx="6858000" cy="9144000"/>
  <p:custDataLst>
    <p:tags r:id="rId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Кирилл Бочкарев" initials="КБ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99B4"/>
    <a:srgbClr val="D3D2E2"/>
    <a:srgbClr val="56C45A"/>
    <a:srgbClr val="79C419"/>
    <a:srgbClr val="EBECF8"/>
    <a:srgbClr val="EBEBF7"/>
    <a:srgbClr val="EC4751"/>
    <a:srgbClr val="6B6D87"/>
    <a:srgbClr val="D2D2DC"/>
    <a:srgbClr val="D2D2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145" autoAdjust="0"/>
    <p:restoredTop sz="90747" autoAdjust="0"/>
  </p:normalViewPr>
  <p:slideViewPr>
    <p:cSldViewPr snapToGrid="0" snapToObjects="1" showGuides="1">
      <p:cViewPr>
        <p:scale>
          <a:sx n="73" d="100"/>
          <a:sy n="73" d="100"/>
        </p:scale>
        <p:origin x="-624" y="-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824"/>
    </p:cViewPr>
  </p:sorterViewPr>
  <p:notesViewPr>
    <p:cSldViewPr snapToGrid="0" snapToObjects="1" showGuides="1">
      <p:cViewPr varScale="1">
        <p:scale>
          <a:sx n="168" d="100"/>
          <a:sy n="168" d="100"/>
        </p:scale>
        <p:origin x="6352" y="22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C3064B-3D0C-6245-A519-D7DE56E4DC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6082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B72456-1CD9-9C46-BD96-978605114240}" type="datetimeFigureOut">
              <a:rPr lang="ru-RU" smtClean="0"/>
              <a:pPr/>
              <a:t>08.04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CA9DA4-7896-9C40-8438-B783E7556CA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54684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13.emf"/><Relationship Id="rId18" Type="http://schemas.openxmlformats.org/officeDocument/2006/relationships/image" Target="../media/image18.emf"/><Relationship Id="rId26" Type="http://schemas.openxmlformats.org/officeDocument/2006/relationships/image" Target="../media/image26.emf"/><Relationship Id="rId3" Type="http://schemas.openxmlformats.org/officeDocument/2006/relationships/image" Target="../media/image3.emf"/><Relationship Id="rId21" Type="http://schemas.openxmlformats.org/officeDocument/2006/relationships/image" Target="../media/image21.emf"/><Relationship Id="rId7" Type="http://schemas.openxmlformats.org/officeDocument/2006/relationships/image" Target="../media/image7.emf"/><Relationship Id="rId12" Type="http://schemas.openxmlformats.org/officeDocument/2006/relationships/image" Target="../media/image12.emf"/><Relationship Id="rId17" Type="http://schemas.openxmlformats.org/officeDocument/2006/relationships/image" Target="../media/image17.emf"/><Relationship Id="rId25" Type="http://schemas.openxmlformats.org/officeDocument/2006/relationships/image" Target="../media/image25.emf"/><Relationship Id="rId2" Type="http://schemas.openxmlformats.org/officeDocument/2006/relationships/image" Target="../media/image2.emf"/><Relationship Id="rId16" Type="http://schemas.openxmlformats.org/officeDocument/2006/relationships/image" Target="../media/image16.emf"/><Relationship Id="rId20" Type="http://schemas.openxmlformats.org/officeDocument/2006/relationships/image" Target="../media/image20.emf"/><Relationship Id="rId29" Type="http://schemas.openxmlformats.org/officeDocument/2006/relationships/image" Target="../media/image29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emf"/><Relationship Id="rId11" Type="http://schemas.openxmlformats.org/officeDocument/2006/relationships/image" Target="../media/image11.emf"/><Relationship Id="rId24" Type="http://schemas.openxmlformats.org/officeDocument/2006/relationships/image" Target="../media/image24.emf"/><Relationship Id="rId5" Type="http://schemas.openxmlformats.org/officeDocument/2006/relationships/image" Target="../media/image5.emf"/><Relationship Id="rId15" Type="http://schemas.openxmlformats.org/officeDocument/2006/relationships/image" Target="../media/image15.emf"/><Relationship Id="rId23" Type="http://schemas.openxmlformats.org/officeDocument/2006/relationships/image" Target="../media/image23.emf"/><Relationship Id="rId28" Type="http://schemas.openxmlformats.org/officeDocument/2006/relationships/image" Target="../media/image28.emf"/><Relationship Id="rId10" Type="http://schemas.openxmlformats.org/officeDocument/2006/relationships/image" Target="../media/image10.emf"/><Relationship Id="rId19" Type="http://schemas.openxmlformats.org/officeDocument/2006/relationships/image" Target="../media/image19.emf"/><Relationship Id="rId4" Type="http://schemas.openxmlformats.org/officeDocument/2006/relationships/image" Target="../media/image4.emf"/><Relationship Id="rId9" Type="http://schemas.openxmlformats.org/officeDocument/2006/relationships/image" Target="../media/image9.emf"/><Relationship Id="rId14" Type="http://schemas.openxmlformats.org/officeDocument/2006/relationships/image" Target="../media/image14.emf"/><Relationship Id="rId22" Type="http://schemas.openxmlformats.org/officeDocument/2006/relationships/image" Target="../media/image22.emf"/><Relationship Id="rId27" Type="http://schemas.openxmlformats.org/officeDocument/2006/relationships/image" Target="../media/image27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solidFill>
          <a:srgbClr val="D3D9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A35B5465-0025-3B4A-B298-B3DD86F03186}"/>
              </a:ext>
            </a:extLst>
          </p:cNvPr>
          <p:cNvSpPr/>
          <p:nvPr userDrawn="1"/>
        </p:nvSpPr>
        <p:spPr>
          <a:xfrm>
            <a:off x="-1115123" y="3590724"/>
            <a:ext cx="13652811" cy="3579316"/>
          </a:xfrm>
          <a:custGeom>
            <a:avLst/>
            <a:gdLst>
              <a:gd name="connsiteX0" fmla="*/ 0 w 12192000"/>
              <a:gd name="connsiteY0" fmla="*/ 0 h 769434"/>
              <a:gd name="connsiteX1" fmla="*/ 12192000 w 12192000"/>
              <a:gd name="connsiteY1" fmla="*/ 0 h 769434"/>
              <a:gd name="connsiteX2" fmla="*/ 12192000 w 12192000"/>
              <a:gd name="connsiteY2" fmla="*/ 769434 h 769434"/>
              <a:gd name="connsiteX3" fmla="*/ 0 w 12192000"/>
              <a:gd name="connsiteY3" fmla="*/ 769434 h 769434"/>
              <a:gd name="connsiteX4" fmla="*/ 0 w 12192000"/>
              <a:gd name="connsiteY4" fmla="*/ 0 h 769434"/>
              <a:gd name="connsiteX0" fmla="*/ 0 w 12192000"/>
              <a:gd name="connsiteY0" fmla="*/ 0 h 769434"/>
              <a:gd name="connsiteX1" fmla="*/ 7560527 w 12192000"/>
              <a:gd name="connsiteY1" fmla="*/ 12120 h 769434"/>
              <a:gd name="connsiteX2" fmla="*/ 12192000 w 12192000"/>
              <a:gd name="connsiteY2" fmla="*/ 0 h 769434"/>
              <a:gd name="connsiteX3" fmla="*/ 12192000 w 12192000"/>
              <a:gd name="connsiteY3" fmla="*/ 769434 h 769434"/>
              <a:gd name="connsiteX4" fmla="*/ 0 w 12192000"/>
              <a:gd name="connsiteY4" fmla="*/ 769434 h 769434"/>
              <a:gd name="connsiteX5" fmla="*/ 0 w 12192000"/>
              <a:gd name="connsiteY5" fmla="*/ 0 h 769434"/>
              <a:gd name="connsiteX0" fmla="*/ 0 w 12192000"/>
              <a:gd name="connsiteY0" fmla="*/ 0 h 769434"/>
              <a:gd name="connsiteX1" fmla="*/ 7560527 w 12192000"/>
              <a:gd name="connsiteY1" fmla="*/ 12120 h 769434"/>
              <a:gd name="connsiteX2" fmla="*/ 9623502 w 12192000"/>
              <a:gd name="connsiteY2" fmla="*/ 969 h 769434"/>
              <a:gd name="connsiteX3" fmla="*/ 12192000 w 12192000"/>
              <a:gd name="connsiteY3" fmla="*/ 0 h 769434"/>
              <a:gd name="connsiteX4" fmla="*/ 12192000 w 12192000"/>
              <a:gd name="connsiteY4" fmla="*/ 769434 h 769434"/>
              <a:gd name="connsiteX5" fmla="*/ 0 w 12192000"/>
              <a:gd name="connsiteY5" fmla="*/ 769434 h 769434"/>
              <a:gd name="connsiteX6" fmla="*/ 0 w 12192000"/>
              <a:gd name="connsiteY6" fmla="*/ 0 h 769434"/>
              <a:gd name="connsiteX0" fmla="*/ 0 w 12192000"/>
              <a:gd name="connsiteY0" fmla="*/ 0 h 769434"/>
              <a:gd name="connsiteX1" fmla="*/ 4025590 w 12192000"/>
              <a:gd name="connsiteY1" fmla="*/ 23271 h 769434"/>
              <a:gd name="connsiteX2" fmla="*/ 7560527 w 12192000"/>
              <a:gd name="connsiteY2" fmla="*/ 12120 h 769434"/>
              <a:gd name="connsiteX3" fmla="*/ 9623502 w 12192000"/>
              <a:gd name="connsiteY3" fmla="*/ 969 h 769434"/>
              <a:gd name="connsiteX4" fmla="*/ 12192000 w 12192000"/>
              <a:gd name="connsiteY4" fmla="*/ 0 h 769434"/>
              <a:gd name="connsiteX5" fmla="*/ 12192000 w 12192000"/>
              <a:gd name="connsiteY5" fmla="*/ 769434 h 769434"/>
              <a:gd name="connsiteX6" fmla="*/ 0 w 12192000"/>
              <a:gd name="connsiteY6" fmla="*/ 769434 h 769434"/>
              <a:gd name="connsiteX7" fmla="*/ 0 w 12192000"/>
              <a:gd name="connsiteY7" fmla="*/ 0 h 769434"/>
              <a:gd name="connsiteX0" fmla="*/ 0 w 12192000"/>
              <a:gd name="connsiteY0" fmla="*/ 0 h 769434"/>
              <a:gd name="connsiteX1" fmla="*/ 4025590 w 12192000"/>
              <a:gd name="connsiteY1" fmla="*/ 23271 h 769434"/>
              <a:gd name="connsiteX2" fmla="*/ 5564459 w 12192000"/>
              <a:gd name="connsiteY2" fmla="*/ 34423 h 769434"/>
              <a:gd name="connsiteX3" fmla="*/ 7560527 w 12192000"/>
              <a:gd name="connsiteY3" fmla="*/ 12120 h 769434"/>
              <a:gd name="connsiteX4" fmla="*/ 9623502 w 12192000"/>
              <a:gd name="connsiteY4" fmla="*/ 969 h 769434"/>
              <a:gd name="connsiteX5" fmla="*/ 12192000 w 12192000"/>
              <a:gd name="connsiteY5" fmla="*/ 0 h 769434"/>
              <a:gd name="connsiteX6" fmla="*/ 12192000 w 12192000"/>
              <a:gd name="connsiteY6" fmla="*/ 769434 h 769434"/>
              <a:gd name="connsiteX7" fmla="*/ 0 w 12192000"/>
              <a:gd name="connsiteY7" fmla="*/ 769434 h 769434"/>
              <a:gd name="connsiteX8" fmla="*/ 0 w 12192000"/>
              <a:gd name="connsiteY8" fmla="*/ 0 h 769434"/>
              <a:gd name="connsiteX0" fmla="*/ 0 w 12214303"/>
              <a:gd name="connsiteY0" fmla="*/ 2107581 h 2877015"/>
              <a:gd name="connsiteX1" fmla="*/ 4025590 w 12214303"/>
              <a:gd name="connsiteY1" fmla="*/ 2130852 h 2877015"/>
              <a:gd name="connsiteX2" fmla="*/ 5564459 w 12214303"/>
              <a:gd name="connsiteY2" fmla="*/ 2142004 h 2877015"/>
              <a:gd name="connsiteX3" fmla="*/ 7560527 w 12214303"/>
              <a:gd name="connsiteY3" fmla="*/ 2119701 h 2877015"/>
              <a:gd name="connsiteX4" fmla="*/ 9623502 w 12214303"/>
              <a:gd name="connsiteY4" fmla="*/ 2108550 h 2877015"/>
              <a:gd name="connsiteX5" fmla="*/ 12214303 w 12214303"/>
              <a:gd name="connsiteY5" fmla="*/ 0 h 2877015"/>
              <a:gd name="connsiteX6" fmla="*/ 12192000 w 12214303"/>
              <a:gd name="connsiteY6" fmla="*/ 2877015 h 2877015"/>
              <a:gd name="connsiteX7" fmla="*/ 0 w 12214303"/>
              <a:gd name="connsiteY7" fmla="*/ 2877015 h 2877015"/>
              <a:gd name="connsiteX8" fmla="*/ 0 w 12214303"/>
              <a:gd name="connsiteY8" fmla="*/ 2107581 h 2877015"/>
              <a:gd name="connsiteX0" fmla="*/ 0 w 12214303"/>
              <a:gd name="connsiteY0" fmla="*/ 2107581 h 2877015"/>
              <a:gd name="connsiteX1" fmla="*/ 4025590 w 12214303"/>
              <a:gd name="connsiteY1" fmla="*/ 2130852 h 2877015"/>
              <a:gd name="connsiteX2" fmla="*/ 5564459 w 12214303"/>
              <a:gd name="connsiteY2" fmla="*/ 2142004 h 2877015"/>
              <a:gd name="connsiteX3" fmla="*/ 7560527 w 12214303"/>
              <a:gd name="connsiteY3" fmla="*/ 2119701 h 2877015"/>
              <a:gd name="connsiteX4" fmla="*/ 9645805 w 12214303"/>
              <a:gd name="connsiteY4" fmla="*/ 1261057 h 2877015"/>
              <a:gd name="connsiteX5" fmla="*/ 12214303 w 12214303"/>
              <a:gd name="connsiteY5" fmla="*/ 0 h 2877015"/>
              <a:gd name="connsiteX6" fmla="*/ 12192000 w 12214303"/>
              <a:gd name="connsiteY6" fmla="*/ 2877015 h 2877015"/>
              <a:gd name="connsiteX7" fmla="*/ 0 w 12214303"/>
              <a:gd name="connsiteY7" fmla="*/ 2877015 h 2877015"/>
              <a:gd name="connsiteX8" fmla="*/ 0 w 12214303"/>
              <a:gd name="connsiteY8" fmla="*/ 2107581 h 2877015"/>
              <a:gd name="connsiteX0" fmla="*/ 0 w 12214303"/>
              <a:gd name="connsiteY0" fmla="*/ 2147260 h 2916694"/>
              <a:gd name="connsiteX1" fmla="*/ 4025590 w 12214303"/>
              <a:gd name="connsiteY1" fmla="*/ 2170531 h 2916694"/>
              <a:gd name="connsiteX2" fmla="*/ 5564459 w 12214303"/>
              <a:gd name="connsiteY2" fmla="*/ 2181683 h 2916694"/>
              <a:gd name="connsiteX3" fmla="*/ 7560527 w 12214303"/>
              <a:gd name="connsiteY3" fmla="*/ 2159380 h 2916694"/>
              <a:gd name="connsiteX4" fmla="*/ 9645805 w 12214303"/>
              <a:gd name="connsiteY4" fmla="*/ 1300736 h 2916694"/>
              <a:gd name="connsiteX5" fmla="*/ 12214303 w 12214303"/>
              <a:gd name="connsiteY5" fmla="*/ 39679 h 2916694"/>
              <a:gd name="connsiteX6" fmla="*/ 12192000 w 12214303"/>
              <a:gd name="connsiteY6" fmla="*/ 2916694 h 2916694"/>
              <a:gd name="connsiteX7" fmla="*/ 0 w 12214303"/>
              <a:gd name="connsiteY7" fmla="*/ 2916694 h 2916694"/>
              <a:gd name="connsiteX8" fmla="*/ 0 w 12214303"/>
              <a:gd name="connsiteY8" fmla="*/ 2147260 h 2916694"/>
              <a:gd name="connsiteX0" fmla="*/ 0 w 12214303"/>
              <a:gd name="connsiteY0" fmla="*/ 2141981 h 2911415"/>
              <a:gd name="connsiteX1" fmla="*/ 4025590 w 12214303"/>
              <a:gd name="connsiteY1" fmla="*/ 2165252 h 2911415"/>
              <a:gd name="connsiteX2" fmla="*/ 5564459 w 12214303"/>
              <a:gd name="connsiteY2" fmla="*/ 2176404 h 2911415"/>
              <a:gd name="connsiteX3" fmla="*/ 7627435 w 12214303"/>
              <a:gd name="connsiteY3" fmla="*/ 838257 h 2911415"/>
              <a:gd name="connsiteX4" fmla="*/ 9645805 w 12214303"/>
              <a:gd name="connsiteY4" fmla="*/ 1295457 h 2911415"/>
              <a:gd name="connsiteX5" fmla="*/ 12214303 w 12214303"/>
              <a:gd name="connsiteY5" fmla="*/ 34400 h 2911415"/>
              <a:gd name="connsiteX6" fmla="*/ 12192000 w 12214303"/>
              <a:gd name="connsiteY6" fmla="*/ 2911415 h 2911415"/>
              <a:gd name="connsiteX7" fmla="*/ 0 w 12214303"/>
              <a:gd name="connsiteY7" fmla="*/ 2911415 h 2911415"/>
              <a:gd name="connsiteX8" fmla="*/ 0 w 12214303"/>
              <a:gd name="connsiteY8" fmla="*/ 2141981 h 2911415"/>
              <a:gd name="connsiteX0" fmla="*/ 0 w 12214303"/>
              <a:gd name="connsiteY0" fmla="*/ 2141981 h 2911415"/>
              <a:gd name="connsiteX1" fmla="*/ 4025590 w 12214303"/>
              <a:gd name="connsiteY1" fmla="*/ 2165252 h 2911415"/>
              <a:gd name="connsiteX2" fmla="*/ 5564459 w 12214303"/>
              <a:gd name="connsiteY2" fmla="*/ 2176404 h 2911415"/>
              <a:gd name="connsiteX3" fmla="*/ 7627435 w 12214303"/>
              <a:gd name="connsiteY3" fmla="*/ 838257 h 2911415"/>
              <a:gd name="connsiteX4" fmla="*/ 9645805 w 12214303"/>
              <a:gd name="connsiteY4" fmla="*/ 1295457 h 2911415"/>
              <a:gd name="connsiteX5" fmla="*/ 12214303 w 12214303"/>
              <a:gd name="connsiteY5" fmla="*/ 34400 h 2911415"/>
              <a:gd name="connsiteX6" fmla="*/ 12192000 w 12214303"/>
              <a:gd name="connsiteY6" fmla="*/ 2911415 h 2911415"/>
              <a:gd name="connsiteX7" fmla="*/ 0 w 12214303"/>
              <a:gd name="connsiteY7" fmla="*/ 2911415 h 2911415"/>
              <a:gd name="connsiteX8" fmla="*/ 0 w 12214303"/>
              <a:gd name="connsiteY8" fmla="*/ 2141981 h 2911415"/>
              <a:gd name="connsiteX0" fmla="*/ 0 w 12214303"/>
              <a:gd name="connsiteY0" fmla="*/ 2141981 h 2911415"/>
              <a:gd name="connsiteX1" fmla="*/ 4025590 w 12214303"/>
              <a:gd name="connsiteY1" fmla="*/ 2165252 h 2911415"/>
              <a:gd name="connsiteX2" fmla="*/ 5564459 w 12214303"/>
              <a:gd name="connsiteY2" fmla="*/ 2176404 h 2911415"/>
              <a:gd name="connsiteX3" fmla="*/ 7627435 w 12214303"/>
              <a:gd name="connsiteY3" fmla="*/ 838257 h 2911415"/>
              <a:gd name="connsiteX4" fmla="*/ 9645805 w 12214303"/>
              <a:gd name="connsiteY4" fmla="*/ 1295457 h 2911415"/>
              <a:gd name="connsiteX5" fmla="*/ 12214303 w 12214303"/>
              <a:gd name="connsiteY5" fmla="*/ 34400 h 2911415"/>
              <a:gd name="connsiteX6" fmla="*/ 12192000 w 12214303"/>
              <a:gd name="connsiteY6" fmla="*/ 2911415 h 2911415"/>
              <a:gd name="connsiteX7" fmla="*/ 0 w 12214303"/>
              <a:gd name="connsiteY7" fmla="*/ 2911415 h 2911415"/>
              <a:gd name="connsiteX8" fmla="*/ 0 w 12214303"/>
              <a:gd name="connsiteY8" fmla="*/ 2141981 h 2911415"/>
              <a:gd name="connsiteX0" fmla="*/ 0 w 12214303"/>
              <a:gd name="connsiteY0" fmla="*/ 2107581 h 2877015"/>
              <a:gd name="connsiteX1" fmla="*/ 4025590 w 12214303"/>
              <a:gd name="connsiteY1" fmla="*/ 2130852 h 2877015"/>
              <a:gd name="connsiteX2" fmla="*/ 5564459 w 12214303"/>
              <a:gd name="connsiteY2" fmla="*/ 2142004 h 2877015"/>
              <a:gd name="connsiteX3" fmla="*/ 7627435 w 12214303"/>
              <a:gd name="connsiteY3" fmla="*/ 803857 h 2877015"/>
              <a:gd name="connsiteX4" fmla="*/ 9645805 w 12214303"/>
              <a:gd name="connsiteY4" fmla="*/ 1261057 h 2877015"/>
              <a:gd name="connsiteX5" fmla="*/ 12214303 w 12214303"/>
              <a:gd name="connsiteY5" fmla="*/ 0 h 2877015"/>
              <a:gd name="connsiteX6" fmla="*/ 12192000 w 12214303"/>
              <a:gd name="connsiteY6" fmla="*/ 2877015 h 2877015"/>
              <a:gd name="connsiteX7" fmla="*/ 0 w 12214303"/>
              <a:gd name="connsiteY7" fmla="*/ 2877015 h 2877015"/>
              <a:gd name="connsiteX8" fmla="*/ 0 w 12214303"/>
              <a:gd name="connsiteY8" fmla="*/ 2107581 h 2877015"/>
              <a:gd name="connsiteX0" fmla="*/ 0 w 12236605"/>
              <a:gd name="connsiteY0" fmla="*/ 2854712 h 3624146"/>
              <a:gd name="connsiteX1" fmla="*/ 4025590 w 12236605"/>
              <a:gd name="connsiteY1" fmla="*/ 2877983 h 3624146"/>
              <a:gd name="connsiteX2" fmla="*/ 5564459 w 12236605"/>
              <a:gd name="connsiteY2" fmla="*/ 2889135 h 3624146"/>
              <a:gd name="connsiteX3" fmla="*/ 7627435 w 12236605"/>
              <a:gd name="connsiteY3" fmla="*/ 1550988 h 3624146"/>
              <a:gd name="connsiteX4" fmla="*/ 9645805 w 12236605"/>
              <a:gd name="connsiteY4" fmla="*/ 2008188 h 3624146"/>
              <a:gd name="connsiteX5" fmla="*/ 12236605 w 12236605"/>
              <a:gd name="connsiteY5" fmla="*/ 0 h 3624146"/>
              <a:gd name="connsiteX6" fmla="*/ 12192000 w 12236605"/>
              <a:gd name="connsiteY6" fmla="*/ 3624146 h 3624146"/>
              <a:gd name="connsiteX7" fmla="*/ 0 w 12236605"/>
              <a:gd name="connsiteY7" fmla="*/ 3624146 h 3624146"/>
              <a:gd name="connsiteX8" fmla="*/ 0 w 12236605"/>
              <a:gd name="connsiteY8" fmla="*/ 2854712 h 3624146"/>
              <a:gd name="connsiteX0" fmla="*/ 0 w 12270059"/>
              <a:gd name="connsiteY0" fmla="*/ 2854712 h 3691053"/>
              <a:gd name="connsiteX1" fmla="*/ 4025590 w 12270059"/>
              <a:gd name="connsiteY1" fmla="*/ 2877983 h 3691053"/>
              <a:gd name="connsiteX2" fmla="*/ 5564459 w 12270059"/>
              <a:gd name="connsiteY2" fmla="*/ 2889135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2854712 h 3691053"/>
              <a:gd name="connsiteX0" fmla="*/ 0 w 12270059"/>
              <a:gd name="connsiteY0" fmla="*/ 2854712 h 3691053"/>
              <a:gd name="connsiteX1" fmla="*/ 3914078 w 12270059"/>
              <a:gd name="connsiteY1" fmla="*/ 3167915 h 3691053"/>
              <a:gd name="connsiteX2" fmla="*/ 5564459 w 12270059"/>
              <a:gd name="connsiteY2" fmla="*/ 2889135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2854712 h 3691053"/>
              <a:gd name="connsiteX0" fmla="*/ 0 w 12270059"/>
              <a:gd name="connsiteY0" fmla="*/ 2854712 h 3691053"/>
              <a:gd name="connsiteX1" fmla="*/ 3958683 w 12270059"/>
              <a:gd name="connsiteY1" fmla="*/ 2877983 h 3691053"/>
              <a:gd name="connsiteX2" fmla="*/ 5564459 w 12270059"/>
              <a:gd name="connsiteY2" fmla="*/ 2889135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2854712 h 3691053"/>
              <a:gd name="connsiteX0" fmla="*/ 0 w 12270059"/>
              <a:gd name="connsiteY0" fmla="*/ 2854712 h 3691053"/>
              <a:gd name="connsiteX1" fmla="*/ 3958683 w 12270059"/>
              <a:gd name="connsiteY1" fmla="*/ 2877983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2854712 h 3691053"/>
              <a:gd name="connsiteX0" fmla="*/ 0 w 12270059"/>
              <a:gd name="connsiteY0" fmla="*/ 2854712 h 3691053"/>
              <a:gd name="connsiteX1" fmla="*/ 3958683 w 12270059"/>
              <a:gd name="connsiteY1" fmla="*/ 2877983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2854712 h 3691053"/>
              <a:gd name="connsiteX0" fmla="*/ 0 w 12270059"/>
              <a:gd name="connsiteY0" fmla="*/ 3189249 h 3691053"/>
              <a:gd name="connsiteX1" fmla="*/ 3958683 w 12270059"/>
              <a:gd name="connsiteY1" fmla="*/ 2877983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3958683 w 12270059"/>
              <a:gd name="connsiteY1" fmla="*/ 2877983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627435 w 12270059"/>
              <a:gd name="connsiteY3" fmla="*/ 1550988 h 3691053"/>
              <a:gd name="connsiteX4" fmla="*/ 9813073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627435 w 12270059"/>
              <a:gd name="connsiteY3" fmla="*/ 1550988 h 3691053"/>
              <a:gd name="connsiteX4" fmla="*/ 9813073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627435 w 12270059"/>
              <a:gd name="connsiteY3" fmla="*/ 1550988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828157 w 12270059"/>
              <a:gd name="connsiteY3" fmla="*/ 1428324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828157 w 12270059"/>
              <a:gd name="connsiteY3" fmla="*/ 1428324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460488 w 12270059"/>
              <a:gd name="connsiteY1" fmla="*/ 2889134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460488 w 12270059"/>
              <a:gd name="connsiteY1" fmla="*/ 2889134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650059 w 12270059"/>
              <a:gd name="connsiteY1" fmla="*/ 2933738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11151 w 12270059"/>
              <a:gd name="connsiteY0" fmla="*/ 3334215 h 3691053"/>
              <a:gd name="connsiteX1" fmla="*/ 4650059 w 12270059"/>
              <a:gd name="connsiteY1" fmla="*/ 2933738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11151 w 12270059"/>
              <a:gd name="connsiteY8" fmla="*/ 3334215 h 3691053"/>
              <a:gd name="connsiteX0" fmla="*/ 11151 w 12247756"/>
              <a:gd name="connsiteY0" fmla="*/ 3334215 h 4125951"/>
              <a:gd name="connsiteX1" fmla="*/ 4650059 w 12247756"/>
              <a:gd name="connsiteY1" fmla="*/ 2933738 h 4125951"/>
              <a:gd name="connsiteX2" fmla="*/ 6055113 w 12247756"/>
              <a:gd name="connsiteY2" fmla="*/ 3112160 h 4125951"/>
              <a:gd name="connsiteX3" fmla="*/ 7984274 w 12247756"/>
              <a:gd name="connsiteY3" fmla="*/ 1417173 h 4125951"/>
              <a:gd name="connsiteX4" fmla="*/ 9913434 w 12247756"/>
              <a:gd name="connsiteY4" fmla="*/ 2019339 h 4125951"/>
              <a:gd name="connsiteX5" fmla="*/ 12236605 w 12247756"/>
              <a:gd name="connsiteY5" fmla="*/ 0 h 4125951"/>
              <a:gd name="connsiteX6" fmla="*/ 12247756 w 12247756"/>
              <a:gd name="connsiteY6" fmla="*/ 4125951 h 4125951"/>
              <a:gd name="connsiteX7" fmla="*/ 0 w 12247756"/>
              <a:gd name="connsiteY7" fmla="*/ 3624146 h 4125951"/>
              <a:gd name="connsiteX8" fmla="*/ 11151 w 12247756"/>
              <a:gd name="connsiteY8" fmla="*/ 3334215 h 4125951"/>
              <a:gd name="connsiteX0" fmla="*/ 0 w 12236605"/>
              <a:gd name="connsiteY0" fmla="*/ 3334215 h 4226312"/>
              <a:gd name="connsiteX1" fmla="*/ 4638908 w 12236605"/>
              <a:gd name="connsiteY1" fmla="*/ 2933738 h 4226312"/>
              <a:gd name="connsiteX2" fmla="*/ 6043962 w 12236605"/>
              <a:gd name="connsiteY2" fmla="*/ 3112160 h 4226312"/>
              <a:gd name="connsiteX3" fmla="*/ 7973123 w 12236605"/>
              <a:gd name="connsiteY3" fmla="*/ 1417173 h 4226312"/>
              <a:gd name="connsiteX4" fmla="*/ 9902283 w 12236605"/>
              <a:gd name="connsiteY4" fmla="*/ 2019339 h 4226312"/>
              <a:gd name="connsiteX5" fmla="*/ 12225454 w 12236605"/>
              <a:gd name="connsiteY5" fmla="*/ 0 h 4226312"/>
              <a:gd name="connsiteX6" fmla="*/ 12236605 w 12236605"/>
              <a:gd name="connsiteY6" fmla="*/ 4125951 h 4226312"/>
              <a:gd name="connsiteX7" fmla="*/ 11151 w 12236605"/>
              <a:gd name="connsiteY7" fmla="*/ 4226312 h 4226312"/>
              <a:gd name="connsiteX8" fmla="*/ 0 w 12236605"/>
              <a:gd name="connsiteY8" fmla="*/ 3334215 h 4226312"/>
              <a:gd name="connsiteX0" fmla="*/ 0 w 12303512"/>
              <a:gd name="connsiteY0" fmla="*/ 3278459 h 4226312"/>
              <a:gd name="connsiteX1" fmla="*/ 4705815 w 12303512"/>
              <a:gd name="connsiteY1" fmla="*/ 2933738 h 4226312"/>
              <a:gd name="connsiteX2" fmla="*/ 6110869 w 12303512"/>
              <a:gd name="connsiteY2" fmla="*/ 3112160 h 4226312"/>
              <a:gd name="connsiteX3" fmla="*/ 8040030 w 12303512"/>
              <a:gd name="connsiteY3" fmla="*/ 1417173 h 4226312"/>
              <a:gd name="connsiteX4" fmla="*/ 9969190 w 12303512"/>
              <a:gd name="connsiteY4" fmla="*/ 2019339 h 4226312"/>
              <a:gd name="connsiteX5" fmla="*/ 12292361 w 12303512"/>
              <a:gd name="connsiteY5" fmla="*/ 0 h 4226312"/>
              <a:gd name="connsiteX6" fmla="*/ 12303512 w 12303512"/>
              <a:gd name="connsiteY6" fmla="*/ 4125951 h 4226312"/>
              <a:gd name="connsiteX7" fmla="*/ 78058 w 12303512"/>
              <a:gd name="connsiteY7" fmla="*/ 4226312 h 4226312"/>
              <a:gd name="connsiteX8" fmla="*/ 0 w 12303512"/>
              <a:gd name="connsiteY8" fmla="*/ 3278459 h 4226312"/>
              <a:gd name="connsiteX0" fmla="*/ 33455 w 12336967"/>
              <a:gd name="connsiteY0" fmla="*/ 3278459 h 4270917"/>
              <a:gd name="connsiteX1" fmla="*/ 4739270 w 12336967"/>
              <a:gd name="connsiteY1" fmla="*/ 2933738 h 4270917"/>
              <a:gd name="connsiteX2" fmla="*/ 6144324 w 12336967"/>
              <a:gd name="connsiteY2" fmla="*/ 3112160 h 4270917"/>
              <a:gd name="connsiteX3" fmla="*/ 8073485 w 12336967"/>
              <a:gd name="connsiteY3" fmla="*/ 1417173 h 4270917"/>
              <a:gd name="connsiteX4" fmla="*/ 10002645 w 12336967"/>
              <a:gd name="connsiteY4" fmla="*/ 2019339 h 4270917"/>
              <a:gd name="connsiteX5" fmla="*/ 12325816 w 12336967"/>
              <a:gd name="connsiteY5" fmla="*/ 0 h 4270917"/>
              <a:gd name="connsiteX6" fmla="*/ 12336967 w 12336967"/>
              <a:gd name="connsiteY6" fmla="*/ 4125951 h 4270917"/>
              <a:gd name="connsiteX7" fmla="*/ 0 w 12336967"/>
              <a:gd name="connsiteY7" fmla="*/ 4270917 h 4270917"/>
              <a:gd name="connsiteX8" fmla="*/ 33455 w 12336967"/>
              <a:gd name="connsiteY8" fmla="*/ 3278459 h 4270917"/>
              <a:gd name="connsiteX0" fmla="*/ 33455 w 12336967"/>
              <a:gd name="connsiteY0" fmla="*/ 3278459 h 4270917"/>
              <a:gd name="connsiteX1" fmla="*/ 4739270 w 12336967"/>
              <a:gd name="connsiteY1" fmla="*/ 2933738 h 4270917"/>
              <a:gd name="connsiteX2" fmla="*/ 6144324 w 12336967"/>
              <a:gd name="connsiteY2" fmla="*/ 3112160 h 4270917"/>
              <a:gd name="connsiteX3" fmla="*/ 9768470 w 12336967"/>
              <a:gd name="connsiteY3" fmla="*/ 1093787 h 4270917"/>
              <a:gd name="connsiteX4" fmla="*/ 10002645 w 12336967"/>
              <a:gd name="connsiteY4" fmla="*/ 2019339 h 4270917"/>
              <a:gd name="connsiteX5" fmla="*/ 12325816 w 12336967"/>
              <a:gd name="connsiteY5" fmla="*/ 0 h 4270917"/>
              <a:gd name="connsiteX6" fmla="*/ 12336967 w 12336967"/>
              <a:gd name="connsiteY6" fmla="*/ 4125951 h 4270917"/>
              <a:gd name="connsiteX7" fmla="*/ 0 w 12336967"/>
              <a:gd name="connsiteY7" fmla="*/ 4270917 h 4270917"/>
              <a:gd name="connsiteX8" fmla="*/ 33455 w 12336967"/>
              <a:gd name="connsiteY8" fmla="*/ 3278459 h 4270917"/>
              <a:gd name="connsiteX0" fmla="*/ 33455 w 12336967"/>
              <a:gd name="connsiteY0" fmla="*/ 3278459 h 4270917"/>
              <a:gd name="connsiteX1" fmla="*/ 4739270 w 12336967"/>
              <a:gd name="connsiteY1" fmla="*/ 2933738 h 4270917"/>
              <a:gd name="connsiteX2" fmla="*/ 6144324 w 12336967"/>
              <a:gd name="connsiteY2" fmla="*/ 3112160 h 4270917"/>
              <a:gd name="connsiteX3" fmla="*/ 6601523 w 12336967"/>
              <a:gd name="connsiteY3" fmla="*/ 1216450 h 4270917"/>
              <a:gd name="connsiteX4" fmla="*/ 10002645 w 12336967"/>
              <a:gd name="connsiteY4" fmla="*/ 2019339 h 4270917"/>
              <a:gd name="connsiteX5" fmla="*/ 12325816 w 12336967"/>
              <a:gd name="connsiteY5" fmla="*/ 0 h 4270917"/>
              <a:gd name="connsiteX6" fmla="*/ 12336967 w 12336967"/>
              <a:gd name="connsiteY6" fmla="*/ 4125951 h 4270917"/>
              <a:gd name="connsiteX7" fmla="*/ 0 w 12336967"/>
              <a:gd name="connsiteY7" fmla="*/ 4270917 h 4270917"/>
              <a:gd name="connsiteX8" fmla="*/ 33455 w 12336967"/>
              <a:gd name="connsiteY8" fmla="*/ 3278459 h 4270917"/>
              <a:gd name="connsiteX0" fmla="*/ 33455 w 12336967"/>
              <a:gd name="connsiteY0" fmla="*/ 3278459 h 4270917"/>
              <a:gd name="connsiteX1" fmla="*/ 4739270 w 12336967"/>
              <a:gd name="connsiteY1" fmla="*/ 2933738 h 4270917"/>
              <a:gd name="connsiteX2" fmla="*/ 6144324 w 12336967"/>
              <a:gd name="connsiteY2" fmla="*/ 3112160 h 4270917"/>
              <a:gd name="connsiteX3" fmla="*/ 6601523 w 12336967"/>
              <a:gd name="connsiteY3" fmla="*/ 1216450 h 4270917"/>
              <a:gd name="connsiteX4" fmla="*/ 8274207 w 12336967"/>
              <a:gd name="connsiteY4" fmla="*/ 2196692 h 4270917"/>
              <a:gd name="connsiteX5" fmla="*/ 10002645 w 12336967"/>
              <a:gd name="connsiteY5" fmla="*/ 2019339 h 4270917"/>
              <a:gd name="connsiteX6" fmla="*/ 12325816 w 12336967"/>
              <a:gd name="connsiteY6" fmla="*/ 0 h 4270917"/>
              <a:gd name="connsiteX7" fmla="*/ 12336967 w 12336967"/>
              <a:gd name="connsiteY7" fmla="*/ 4125951 h 4270917"/>
              <a:gd name="connsiteX8" fmla="*/ 0 w 12336967"/>
              <a:gd name="connsiteY8" fmla="*/ 4270917 h 4270917"/>
              <a:gd name="connsiteX9" fmla="*/ 33455 w 12336967"/>
              <a:gd name="connsiteY9" fmla="*/ 3278459 h 4270917"/>
              <a:gd name="connsiteX0" fmla="*/ 33455 w 12336967"/>
              <a:gd name="connsiteY0" fmla="*/ 3278459 h 4270917"/>
              <a:gd name="connsiteX1" fmla="*/ 4739270 w 12336967"/>
              <a:gd name="connsiteY1" fmla="*/ 2933738 h 4270917"/>
              <a:gd name="connsiteX2" fmla="*/ 6144324 w 12336967"/>
              <a:gd name="connsiteY2" fmla="*/ 3112160 h 4270917"/>
              <a:gd name="connsiteX3" fmla="*/ 6601523 w 12336967"/>
              <a:gd name="connsiteY3" fmla="*/ 1216450 h 4270917"/>
              <a:gd name="connsiteX4" fmla="*/ 8274207 w 12336967"/>
              <a:gd name="connsiteY4" fmla="*/ 2196692 h 4270917"/>
              <a:gd name="connsiteX5" fmla="*/ 10136460 w 12336967"/>
              <a:gd name="connsiteY5" fmla="*/ 748100 h 4270917"/>
              <a:gd name="connsiteX6" fmla="*/ 12325816 w 12336967"/>
              <a:gd name="connsiteY6" fmla="*/ 0 h 4270917"/>
              <a:gd name="connsiteX7" fmla="*/ 12336967 w 12336967"/>
              <a:gd name="connsiteY7" fmla="*/ 4125951 h 4270917"/>
              <a:gd name="connsiteX8" fmla="*/ 0 w 12336967"/>
              <a:gd name="connsiteY8" fmla="*/ 4270917 h 4270917"/>
              <a:gd name="connsiteX9" fmla="*/ 33455 w 12336967"/>
              <a:gd name="connsiteY9" fmla="*/ 3278459 h 4270917"/>
              <a:gd name="connsiteX0" fmla="*/ 33455 w 12805318"/>
              <a:gd name="connsiteY0" fmla="*/ 2539974 h 3532432"/>
              <a:gd name="connsiteX1" fmla="*/ 4739270 w 12805318"/>
              <a:gd name="connsiteY1" fmla="*/ 2195253 h 3532432"/>
              <a:gd name="connsiteX2" fmla="*/ 6144324 w 12805318"/>
              <a:gd name="connsiteY2" fmla="*/ 2373675 h 3532432"/>
              <a:gd name="connsiteX3" fmla="*/ 6601523 w 12805318"/>
              <a:gd name="connsiteY3" fmla="*/ 477965 h 3532432"/>
              <a:gd name="connsiteX4" fmla="*/ 8274207 w 12805318"/>
              <a:gd name="connsiteY4" fmla="*/ 1458207 h 3532432"/>
              <a:gd name="connsiteX5" fmla="*/ 10136460 w 12805318"/>
              <a:gd name="connsiteY5" fmla="*/ 9615 h 3532432"/>
              <a:gd name="connsiteX6" fmla="*/ 12805318 w 12805318"/>
              <a:gd name="connsiteY6" fmla="*/ 766929 h 3532432"/>
              <a:gd name="connsiteX7" fmla="*/ 12336967 w 12805318"/>
              <a:gd name="connsiteY7" fmla="*/ 3387466 h 3532432"/>
              <a:gd name="connsiteX8" fmla="*/ 0 w 12805318"/>
              <a:gd name="connsiteY8" fmla="*/ 3532432 h 3532432"/>
              <a:gd name="connsiteX9" fmla="*/ 33455 w 12805318"/>
              <a:gd name="connsiteY9" fmla="*/ 2539974 h 3532432"/>
              <a:gd name="connsiteX0" fmla="*/ 33455 w 12805318"/>
              <a:gd name="connsiteY0" fmla="*/ 2551022 h 3543480"/>
              <a:gd name="connsiteX1" fmla="*/ 4739270 w 12805318"/>
              <a:gd name="connsiteY1" fmla="*/ 2206301 h 3543480"/>
              <a:gd name="connsiteX2" fmla="*/ 6144324 w 12805318"/>
              <a:gd name="connsiteY2" fmla="*/ 2384723 h 3543480"/>
              <a:gd name="connsiteX3" fmla="*/ 6601523 w 12805318"/>
              <a:gd name="connsiteY3" fmla="*/ 489013 h 3543480"/>
              <a:gd name="connsiteX4" fmla="*/ 8274207 w 12805318"/>
              <a:gd name="connsiteY4" fmla="*/ 1469255 h 3543480"/>
              <a:gd name="connsiteX5" fmla="*/ 10470997 w 12805318"/>
              <a:gd name="connsiteY5" fmla="*/ 9511 h 3543480"/>
              <a:gd name="connsiteX6" fmla="*/ 12805318 w 12805318"/>
              <a:gd name="connsiteY6" fmla="*/ 777977 h 3543480"/>
              <a:gd name="connsiteX7" fmla="*/ 12336967 w 12805318"/>
              <a:gd name="connsiteY7" fmla="*/ 3398514 h 3543480"/>
              <a:gd name="connsiteX8" fmla="*/ 0 w 12805318"/>
              <a:gd name="connsiteY8" fmla="*/ 3543480 h 3543480"/>
              <a:gd name="connsiteX9" fmla="*/ 33455 w 12805318"/>
              <a:gd name="connsiteY9" fmla="*/ 2551022 h 3543480"/>
              <a:gd name="connsiteX0" fmla="*/ 33455 w 12805318"/>
              <a:gd name="connsiteY0" fmla="*/ 2541916 h 3534374"/>
              <a:gd name="connsiteX1" fmla="*/ 4739270 w 12805318"/>
              <a:gd name="connsiteY1" fmla="*/ 2197195 h 3534374"/>
              <a:gd name="connsiteX2" fmla="*/ 6144324 w 12805318"/>
              <a:gd name="connsiteY2" fmla="*/ 2375617 h 3534374"/>
              <a:gd name="connsiteX3" fmla="*/ 6601523 w 12805318"/>
              <a:gd name="connsiteY3" fmla="*/ 479907 h 3534374"/>
              <a:gd name="connsiteX4" fmla="*/ 8274207 w 12805318"/>
              <a:gd name="connsiteY4" fmla="*/ 1460149 h 3534374"/>
              <a:gd name="connsiteX5" fmla="*/ 10470997 w 12805318"/>
              <a:gd name="connsiteY5" fmla="*/ 405 h 3534374"/>
              <a:gd name="connsiteX6" fmla="*/ 12805318 w 12805318"/>
              <a:gd name="connsiteY6" fmla="*/ 768871 h 3534374"/>
              <a:gd name="connsiteX7" fmla="*/ 12336967 w 12805318"/>
              <a:gd name="connsiteY7" fmla="*/ 3389408 h 3534374"/>
              <a:gd name="connsiteX8" fmla="*/ 0 w 12805318"/>
              <a:gd name="connsiteY8" fmla="*/ 3534374 h 3534374"/>
              <a:gd name="connsiteX9" fmla="*/ 33455 w 12805318"/>
              <a:gd name="connsiteY9" fmla="*/ 2541916 h 3534374"/>
              <a:gd name="connsiteX0" fmla="*/ 33455 w 12805318"/>
              <a:gd name="connsiteY0" fmla="*/ 2541916 h 3534374"/>
              <a:gd name="connsiteX1" fmla="*/ 4739270 w 12805318"/>
              <a:gd name="connsiteY1" fmla="*/ 2197195 h 3534374"/>
              <a:gd name="connsiteX2" fmla="*/ 6144324 w 12805318"/>
              <a:gd name="connsiteY2" fmla="*/ 2375617 h 3534374"/>
              <a:gd name="connsiteX3" fmla="*/ 6869152 w 12805318"/>
              <a:gd name="connsiteY3" fmla="*/ 513361 h 3534374"/>
              <a:gd name="connsiteX4" fmla="*/ 8274207 w 12805318"/>
              <a:gd name="connsiteY4" fmla="*/ 1460149 h 3534374"/>
              <a:gd name="connsiteX5" fmla="*/ 10470997 w 12805318"/>
              <a:gd name="connsiteY5" fmla="*/ 405 h 3534374"/>
              <a:gd name="connsiteX6" fmla="*/ 12805318 w 12805318"/>
              <a:gd name="connsiteY6" fmla="*/ 768871 h 3534374"/>
              <a:gd name="connsiteX7" fmla="*/ 12336967 w 12805318"/>
              <a:gd name="connsiteY7" fmla="*/ 3389408 h 3534374"/>
              <a:gd name="connsiteX8" fmla="*/ 0 w 12805318"/>
              <a:gd name="connsiteY8" fmla="*/ 3534374 h 3534374"/>
              <a:gd name="connsiteX9" fmla="*/ 33455 w 12805318"/>
              <a:gd name="connsiteY9" fmla="*/ 2541916 h 3534374"/>
              <a:gd name="connsiteX0" fmla="*/ 33455 w 12805318"/>
              <a:gd name="connsiteY0" fmla="*/ 2557223 h 3549681"/>
              <a:gd name="connsiteX1" fmla="*/ 4739270 w 12805318"/>
              <a:gd name="connsiteY1" fmla="*/ 2212502 h 3549681"/>
              <a:gd name="connsiteX2" fmla="*/ 6144324 w 12805318"/>
              <a:gd name="connsiteY2" fmla="*/ 2390924 h 3549681"/>
              <a:gd name="connsiteX3" fmla="*/ 6869152 w 12805318"/>
              <a:gd name="connsiteY3" fmla="*/ 528668 h 3549681"/>
              <a:gd name="connsiteX4" fmla="*/ 8486080 w 12805318"/>
              <a:gd name="connsiteY4" fmla="*/ 1698481 h 3549681"/>
              <a:gd name="connsiteX5" fmla="*/ 10470997 w 12805318"/>
              <a:gd name="connsiteY5" fmla="*/ 15712 h 3549681"/>
              <a:gd name="connsiteX6" fmla="*/ 12805318 w 12805318"/>
              <a:gd name="connsiteY6" fmla="*/ 784178 h 3549681"/>
              <a:gd name="connsiteX7" fmla="*/ 12336967 w 12805318"/>
              <a:gd name="connsiteY7" fmla="*/ 3404715 h 3549681"/>
              <a:gd name="connsiteX8" fmla="*/ 0 w 12805318"/>
              <a:gd name="connsiteY8" fmla="*/ 3549681 h 3549681"/>
              <a:gd name="connsiteX9" fmla="*/ 33455 w 12805318"/>
              <a:gd name="connsiteY9" fmla="*/ 2557223 h 3549681"/>
              <a:gd name="connsiteX0" fmla="*/ 33455 w 12805318"/>
              <a:gd name="connsiteY0" fmla="*/ 2612225 h 3604683"/>
              <a:gd name="connsiteX1" fmla="*/ 4739270 w 12805318"/>
              <a:gd name="connsiteY1" fmla="*/ 2267504 h 3604683"/>
              <a:gd name="connsiteX2" fmla="*/ 6144324 w 12805318"/>
              <a:gd name="connsiteY2" fmla="*/ 2445926 h 3604683"/>
              <a:gd name="connsiteX3" fmla="*/ 6869152 w 12805318"/>
              <a:gd name="connsiteY3" fmla="*/ 583670 h 3604683"/>
              <a:gd name="connsiteX4" fmla="*/ 8486080 w 12805318"/>
              <a:gd name="connsiteY4" fmla="*/ 1753483 h 3604683"/>
              <a:gd name="connsiteX5" fmla="*/ 10504451 w 12805318"/>
              <a:gd name="connsiteY5" fmla="*/ 14958 h 3604683"/>
              <a:gd name="connsiteX6" fmla="*/ 12805318 w 12805318"/>
              <a:gd name="connsiteY6" fmla="*/ 839180 h 3604683"/>
              <a:gd name="connsiteX7" fmla="*/ 12336967 w 12805318"/>
              <a:gd name="connsiteY7" fmla="*/ 3459717 h 3604683"/>
              <a:gd name="connsiteX8" fmla="*/ 0 w 12805318"/>
              <a:gd name="connsiteY8" fmla="*/ 3604683 h 3604683"/>
              <a:gd name="connsiteX9" fmla="*/ 33455 w 12805318"/>
              <a:gd name="connsiteY9" fmla="*/ 2612225 h 3604683"/>
              <a:gd name="connsiteX0" fmla="*/ 33455 w 12805318"/>
              <a:gd name="connsiteY0" fmla="*/ 2612225 h 3604683"/>
              <a:gd name="connsiteX1" fmla="*/ 4739270 w 12805318"/>
              <a:gd name="connsiteY1" fmla="*/ 2267504 h 3604683"/>
              <a:gd name="connsiteX2" fmla="*/ 6144324 w 12805318"/>
              <a:gd name="connsiteY2" fmla="*/ 2445926 h 3604683"/>
              <a:gd name="connsiteX3" fmla="*/ 6869152 w 12805318"/>
              <a:gd name="connsiteY3" fmla="*/ 583670 h 3604683"/>
              <a:gd name="connsiteX4" fmla="*/ 8486080 w 12805318"/>
              <a:gd name="connsiteY4" fmla="*/ 1753483 h 3604683"/>
              <a:gd name="connsiteX5" fmla="*/ 10504451 w 12805318"/>
              <a:gd name="connsiteY5" fmla="*/ 14958 h 3604683"/>
              <a:gd name="connsiteX6" fmla="*/ 12805318 w 12805318"/>
              <a:gd name="connsiteY6" fmla="*/ 839180 h 3604683"/>
              <a:gd name="connsiteX7" fmla="*/ 12738411 w 12805318"/>
              <a:gd name="connsiteY7" fmla="*/ 3515473 h 3604683"/>
              <a:gd name="connsiteX8" fmla="*/ 0 w 12805318"/>
              <a:gd name="connsiteY8" fmla="*/ 3604683 h 3604683"/>
              <a:gd name="connsiteX9" fmla="*/ 33455 w 12805318"/>
              <a:gd name="connsiteY9" fmla="*/ 2612225 h 3604683"/>
              <a:gd name="connsiteX0" fmla="*/ 33455 w 12738411"/>
              <a:gd name="connsiteY0" fmla="*/ 2610015 h 3602473"/>
              <a:gd name="connsiteX1" fmla="*/ 4739270 w 12738411"/>
              <a:gd name="connsiteY1" fmla="*/ 2265294 h 3602473"/>
              <a:gd name="connsiteX2" fmla="*/ 6144324 w 12738411"/>
              <a:gd name="connsiteY2" fmla="*/ 2443716 h 3602473"/>
              <a:gd name="connsiteX3" fmla="*/ 6869152 w 12738411"/>
              <a:gd name="connsiteY3" fmla="*/ 581460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4739270 w 12738411"/>
              <a:gd name="connsiteY1" fmla="*/ 2265294 h 3602473"/>
              <a:gd name="connsiteX2" fmla="*/ 6144324 w 12738411"/>
              <a:gd name="connsiteY2" fmla="*/ 2443716 h 3602473"/>
              <a:gd name="connsiteX3" fmla="*/ 6947210 w 12738411"/>
              <a:gd name="connsiteY3" fmla="*/ 581460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3735660 w 12738411"/>
              <a:gd name="connsiteY1" fmla="*/ 1796943 h 3602473"/>
              <a:gd name="connsiteX2" fmla="*/ 6144324 w 12738411"/>
              <a:gd name="connsiteY2" fmla="*/ 2443716 h 3602473"/>
              <a:gd name="connsiteX3" fmla="*/ 6947210 w 12738411"/>
              <a:gd name="connsiteY3" fmla="*/ 581460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3345367 w 12738411"/>
              <a:gd name="connsiteY1" fmla="*/ 1796943 h 3602473"/>
              <a:gd name="connsiteX2" fmla="*/ 6144324 w 12738411"/>
              <a:gd name="connsiteY2" fmla="*/ 2443716 h 3602473"/>
              <a:gd name="connsiteX3" fmla="*/ 6947210 w 12738411"/>
              <a:gd name="connsiteY3" fmla="*/ 581460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3345367 w 12738411"/>
              <a:gd name="connsiteY1" fmla="*/ 1796943 h 3602473"/>
              <a:gd name="connsiteX2" fmla="*/ 5497553 w 12738411"/>
              <a:gd name="connsiteY2" fmla="*/ 2477170 h 3602473"/>
              <a:gd name="connsiteX3" fmla="*/ 6947210 w 12738411"/>
              <a:gd name="connsiteY3" fmla="*/ 581460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3345367 w 12738411"/>
              <a:gd name="connsiteY1" fmla="*/ 1796943 h 3602473"/>
              <a:gd name="connsiteX2" fmla="*/ 5497553 w 12738411"/>
              <a:gd name="connsiteY2" fmla="*/ 2477170 h 3602473"/>
              <a:gd name="connsiteX3" fmla="*/ 6947210 w 12738411"/>
              <a:gd name="connsiteY3" fmla="*/ 581460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3345367 w 12738411"/>
              <a:gd name="connsiteY1" fmla="*/ 1796943 h 3602473"/>
              <a:gd name="connsiteX2" fmla="*/ 5029202 w 12738411"/>
              <a:gd name="connsiteY2" fmla="*/ 1964214 h 3602473"/>
              <a:gd name="connsiteX3" fmla="*/ 6947210 w 12738411"/>
              <a:gd name="connsiteY3" fmla="*/ 581460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3345367 w 12738411"/>
              <a:gd name="connsiteY1" fmla="*/ 1796943 h 3602473"/>
              <a:gd name="connsiteX2" fmla="*/ 5029202 w 12738411"/>
              <a:gd name="connsiteY2" fmla="*/ 1964214 h 3602473"/>
              <a:gd name="connsiteX3" fmla="*/ 6768791 w 12738411"/>
              <a:gd name="connsiteY3" fmla="*/ 849089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3345367 w 12738411"/>
              <a:gd name="connsiteY1" fmla="*/ 1796943 h 3602473"/>
              <a:gd name="connsiteX2" fmla="*/ 5029202 w 12738411"/>
              <a:gd name="connsiteY2" fmla="*/ 1964214 h 3602473"/>
              <a:gd name="connsiteX3" fmla="*/ 6768791 w 12738411"/>
              <a:gd name="connsiteY3" fmla="*/ 849089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3345367 w 12738411"/>
              <a:gd name="connsiteY1" fmla="*/ 1796943 h 3602473"/>
              <a:gd name="connsiteX2" fmla="*/ 5029202 w 12738411"/>
              <a:gd name="connsiteY2" fmla="*/ 1964214 h 3602473"/>
              <a:gd name="connsiteX3" fmla="*/ 6568070 w 12738411"/>
              <a:gd name="connsiteY3" fmla="*/ 860240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3345367 w 12738411"/>
              <a:gd name="connsiteY1" fmla="*/ 1796943 h 3602473"/>
              <a:gd name="connsiteX2" fmla="*/ 5029202 w 12738411"/>
              <a:gd name="connsiteY2" fmla="*/ 1964214 h 3602473"/>
              <a:gd name="connsiteX3" fmla="*/ 6568070 w 12738411"/>
              <a:gd name="connsiteY3" fmla="*/ 860240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3345367 w 12738411"/>
              <a:gd name="connsiteY1" fmla="*/ 1796943 h 3602473"/>
              <a:gd name="connsiteX2" fmla="*/ 5029202 w 12738411"/>
              <a:gd name="connsiteY2" fmla="*/ 1964214 h 3602473"/>
              <a:gd name="connsiteX3" fmla="*/ 6568070 w 12738411"/>
              <a:gd name="connsiteY3" fmla="*/ 860240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3345367 w 12738411"/>
              <a:gd name="connsiteY1" fmla="*/ 1796943 h 3602473"/>
              <a:gd name="connsiteX2" fmla="*/ 5029202 w 12738411"/>
              <a:gd name="connsiteY2" fmla="*/ 1964214 h 3602473"/>
              <a:gd name="connsiteX3" fmla="*/ 6568070 w 12738411"/>
              <a:gd name="connsiteY3" fmla="*/ 860240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598984 h 3591442"/>
              <a:gd name="connsiteX1" fmla="*/ 3345367 w 12738411"/>
              <a:gd name="connsiteY1" fmla="*/ 1785912 h 3591442"/>
              <a:gd name="connsiteX2" fmla="*/ 5029202 w 12738411"/>
              <a:gd name="connsiteY2" fmla="*/ 1953183 h 3591442"/>
              <a:gd name="connsiteX3" fmla="*/ 6568070 w 12738411"/>
              <a:gd name="connsiteY3" fmla="*/ 849209 h 3591442"/>
              <a:gd name="connsiteX4" fmla="*/ 8486080 w 12738411"/>
              <a:gd name="connsiteY4" fmla="*/ 1740242 h 3591442"/>
              <a:gd name="connsiteX5" fmla="*/ 10582509 w 12738411"/>
              <a:gd name="connsiteY5" fmla="*/ 12868 h 3591442"/>
              <a:gd name="connsiteX6" fmla="*/ 12704957 w 12738411"/>
              <a:gd name="connsiteY6" fmla="*/ 881695 h 3591442"/>
              <a:gd name="connsiteX7" fmla="*/ 12738411 w 12738411"/>
              <a:gd name="connsiteY7" fmla="*/ 3502232 h 3591442"/>
              <a:gd name="connsiteX8" fmla="*/ 0 w 12738411"/>
              <a:gd name="connsiteY8" fmla="*/ 3591442 h 3591442"/>
              <a:gd name="connsiteX9" fmla="*/ 33455 w 12738411"/>
              <a:gd name="connsiteY9" fmla="*/ 2598984 h 3591442"/>
              <a:gd name="connsiteX0" fmla="*/ 33455 w 12738411"/>
              <a:gd name="connsiteY0" fmla="*/ 2587595 h 3580053"/>
              <a:gd name="connsiteX1" fmla="*/ 3345367 w 12738411"/>
              <a:gd name="connsiteY1" fmla="*/ 1774523 h 3580053"/>
              <a:gd name="connsiteX2" fmla="*/ 5029202 w 12738411"/>
              <a:gd name="connsiteY2" fmla="*/ 1941794 h 3580053"/>
              <a:gd name="connsiteX3" fmla="*/ 6568070 w 12738411"/>
              <a:gd name="connsiteY3" fmla="*/ 837820 h 3580053"/>
              <a:gd name="connsiteX4" fmla="*/ 8486080 w 12738411"/>
              <a:gd name="connsiteY4" fmla="*/ 1728853 h 3580053"/>
              <a:gd name="connsiteX5" fmla="*/ 10582509 w 12738411"/>
              <a:gd name="connsiteY5" fmla="*/ 1479 h 3580053"/>
              <a:gd name="connsiteX6" fmla="*/ 12704957 w 12738411"/>
              <a:gd name="connsiteY6" fmla="*/ 870306 h 3580053"/>
              <a:gd name="connsiteX7" fmla="*/ 12738411 w 12738411"/>
              <a:gd name="connsiteY7" fmla="*/ 3490843 h 3580053"/>
              <a:gd name="connsiteX8" fmla="*/ 0 w 12738411"/>
              <a:gd name="connsiteY8" fmla="*/ 3580053 h 3580053"/>
              <a:gd name="connsiteX9" fmla="*/ 33455 w 12738411"/>
              <a:gd name="connsiteY9" fmla="*/ 2587595 h 3580053"/>
              <a:gd name="connsiteX0" fmla="*/ 33455 w 12738411"/>
              <a:gd name="connsiteY0" fmla="*/ 2587470 h 3579928"/>
              <a:gd name="connsiteX1" fmla="*/ 3345367 w 12738411"/>
              <a:gd name="connsiteY1" fmla="*/ 1774398 h 3579928"/>
              <a:gd name="connsiteX2" fmla="*/ 5029202 w 12738411"/>
              <a:gd name="connsiteY2" fmla="*/ 1941669 h 3579928"/>
              <a:gd name="connsiteX3" fmla="*/ 6568070 w 12738411"/>
              <a:gd name="connsiteY3" fmla="*/ 837695 h 3579928"/>
              <a:gd name="connsiteX4" fmla="*/ 8486080 w 12738411"/>
              <a:gd name="connsiteY4" fmla="*/ 1728728 h 3579928"/>
              <a:gd name="connsiteX5" fmla="*/ 10582509 w 12738411"/>
              <a:gd name="connsiteY5" fmla="*/ 1354 h 3579928"/>
              <a:gd name="connsiteX6" fmla="*/ 12704957 w 12738411"/>
              <a:gd name="connsiteY6" fmla="*/ 870181 h 3579928"/>
              <a:gd name="connsiteX7" fmla="*/ 12738411 w 12738411"/>
              <a:gd name="connsiteY7" fmla="*/ 3490718 h 3579928"/>
              <a:gd name="connsiteX8" fmla="*/ 0 w 12738411"/>
              <a:gd name="connsiteY8" fmla="*/ 3579928 h 3579928"/>
              <a:gd name="connsiteX9" fmla="*/ 33455 w 12738411"/>
              <a:gd name="connsiteY9" fmla="*/ 2587470 h 3579928"/>
              <a:gd name="connsiteX0" fmla="*/ 33455 w 12738411"/>
              <a:gd name="connsiteY0" fmla="*/ 2587470 h 3579928"/>
              <a:gd name="connsiteX1" fmla="*/ 3345367 w 12738411"/>
              <a:gd name="connsiteY1" fmla="*/ 1774398 h 3579928"/>
              <a:gd name="connsiteX2" fmla="*/ 5029202 w 12738411"/>
              <a:gd name="connsiteY2" fmla="*/ 1941669 h 3579928"/>
              <a:gd name="connsiteX3" fmla="*/ 6568070 w 12738411"/>
              <a:gd name="connsiteY3" fmla="*/ 837695 h 3579928"/>
              <a:gd name="connsiteX4" fmla="*/ 8486080 w 12738411"/>
              <a:gd name="connsiteY4" fmla="*/ 1728728 h 3579928"/>
              <a:gd name="connsiteX5" fmla="*/ 10582509 w 12738411"/>
              <a:gd name="connsiteY5" fmla="*/ 1354 h 3579928"/>
              <a:gd name="connsiteX6" fmla="*/ 12704957 w 12738411"/>
              <a:gd name="connsiteY6" fmla="*/ 870181 h 3579928"/>
              <a:gd name="connsiteX7" fmla="*/ 12738411 w 12738411"/>
              <a:gd name="connsiteY7" fmla="*/ 3490718 h 3579928"/>
              <a:gd name="connsiteX8" fmla="*/ 0 w 12738411"/>
              <a:gd name="connsiteY8" fmla="*/ 3579928 h 3579928"/>
              <a:gd name="connsiteX9" fmla="*/ 33455 w 12738411"/>
              <a:gd name="connsiteY9" fmla="*/ 2587470 h 3579928"/>
              <a:gd name="connsiteX0" fmla="*/ 33455 w 12738411"/>
              <a:gd name="connsiteY0" fmla="*/ 2587470 h 3579928"/>
              <a:gd name="connsiteX1" fmla="*/ 3345367 w 12738411"/>
              <a:gd name="connsiteY1" fmla="*/ 1774398 h 3579928"/>
              <a:gd name="connsiteX2" fmla="*/ 5029202 w 12738411"/>
              <a:gd name="connsiteY2" fmla="*/ 1941669 h 3579928"/>
              <a:gd name="connsiteX3" fmla="*/ 6568070 w 12738411"/>
              <a:gd name="connsiteY3" fmla="*/ 837695 h 3579928"/>
              <a:gd name="connsiteX4" fmla="*/ 8486080 w 12738411"/>
              <a:gd name="connsiteY4" fmla="*/ 1728728 h 3579928"/>
              <a:gd name="connsiteX5" fmla="*/ 10582509 w 12738411"/>
              <a:gd name="connsiteY5" fmla="*/ 1354 h 3579928"/>
              <a:gd name="connsiteX6" fmla="*/ 12704957 w 12738411"/>
              <a:gd name="connsiteY6" fmla="*/ 870181 h 3579928"/>
              <a:gd name="connsiteX7" fmla="*/ 12738411 w 12738411"/>
              <a:gd name="connsiteY7" fmla="*/ 3490718 h 3579928"/>
              <a:gd name="connsiteX8" fmla="*/ 0 w 12738411"/>
              <a:gd name="connsiteY8" fmla="*/ 3579928 h 3579928"/>
              <a:gd name="connsiteX9" fmla="*/ 33455 w 12738411"/>
              <a:gd name="connsiteY9" fmla="*/ 2587470 h 3579928"/>
              <a:gd name="connsiteX0" fmla="*/ 33455 w 12738411"/>
              <a:gd name="connsiteY0" fmla="*/ 2587470 h 3579928"/>
              <a:gd name="connsiteX1" fmla="*/ 3367670 w 12738411"/>
              <a:gd name="connsiteY1" fmla="*/ 1685188 h 3579928"/>
              <a:gd name="connsiteX2" fmla="*/ 5029202 w 12738411"/>
              <a:gd name="connsiteY2" fmla="*/ 1941669 h 3579928"/>
              <a:gd name="connsiteX3" fmla="*/ 6568070 w 12738411"/>
              <a:gd name="connsiteY3" fmla="*/ 837695 h 3579928"/>
              <a:gd name="connsiteX4" fmla="*/ 8486080 w 12738411"/>
              <a:gd name="connsiteY4" fmla="*/ 1728728 h 3579928"/>
              <a:gd name="connsiteX5" fmla="*/ 10582509 w 12738411"/>
              <a:gd name="connsiteY5" fmla="*/ 1354 h 3579928"/>
              <a:gd name="connsiteX6" fmla="*/ 12704957 w 12738411"/>
              <a:gd name="connsiteY6" fmla="*/ 870181 h 3579928"/>
              <a:gd name="connsiteX7" fmla="*/ 12738411 w 12738411"/>
              <a:gd name="connsiteY7" fmla="*/ 3490718 h 3579928"/>
              <a:gd name="connsiteX8" fmla="*/ 0 w 12738411"/>
              <a:gd name="connsiteY8" fmla="*/ 3579928 h 3579928"/>
              <a:gd name="connsiteX9" fmla="*/ 33455 w 12738411"/>
              <a:gd name="connsiteY9" fmla="*/ 2587470 h 3579928"/>
              <a:gd name="connsiteX0" fmla="*/ 33455 w 12738411"/>
              <a:gd name="connsiteY0" fmla="*/ 2587470 h 3579928"/>
              <a:gd name="connsiteX1" fmla="*/ 3367670 w 12738411"/>
              <a:gd name="connsiteY1" fmla="*/ 1685188 h 3579928"/>
              <a:gd name="connsiteX2" fmla="*/ 5029202 w 12738411"/>
              <a:gd name="connsiteY2" fmla="*/ 1941669 h 3579928"/>
              <a:gd name="connsiteX3" fmla="*/ 6568070 w 12738411"/>
              <a:gd name="connsiteY3" fmla="*/ 837695 h 3579928"/>
              <a:gd name="connsiteX4" fmla="*/ 8486080 w 12738411"/>
              <a:gd name="connsiteY4" fmla="*/ 1728728 h 3579928"/>
              <a:gd name="connsiteX5" fmla="*/ 10582509 w 12738411"/>
              <a:gd name="connsiteY5" fmla="*/ 1354 h 3579928"/>
              <a:gd name="connsiteX6" fmla="*/ 12704957 w 12738411"/>
              <a:gd name="connsiteY6" fmla="*/ 870181 h 3579928"/>
              <a:gd name="connsiteX7" fmla="*/ 12738411 w 12738411"/>
              <a:gd name="connsiteY7" fmla="*/ 3490718 h 3579928"/>
              <a:gd name="connsiteX8" fmla="*/ 0 w 12738411"/>
              <a:gd name="connsiteY8" fmla="*/ 3579928 h 3579928"/>
              <a:gd name="connsiteX9" fmla="*/ 33455 w 12738411"/>
              <a:gd name="connsiteY9" fmla="*/ 2587470 h 3579928"/>
              <a:gd name="connsiteX0" fmla="*/ 33455 w 12738411"/>
              <a:gd name="connsiteY0" fmla="*/ 2587470 h 3579928"/>
              <a:gd name="connsiteX1" fmla="*/ 702529 w 12738411"/>
              <a:gd name="connsiteY1" fmla="*/ 2520462 h 3579928"/>
              <a:gd name="connsiteX2" fmla="*/ 3367670 w 12738411"/>
              <a:gd name="connsiteY2" fmla="*/ 1685188 h 3579928"/>
              <a:gd name="connsiteX3" fmla="*/ 5029202 w 12738411"/>
              <a:gd name="connsiteY3" fmla="*/ 1941669 h 3579928"/>
              <a:gd name="connsiteX4" fmla="*/ 6568070 w 12738411"/>
              <a:gd name="connsiteY4" fmla="*/ 837695 h 3579928"/>
              <a:gd name="connsiteX5" fmla="*/ 8486080 w 12738411"/>
              <a:gd name="connsiteY5" fmla="*/ 1728728 h 3579928"/>
              <a:gd name="connsiteX6" fmla="*/ 10582509 w 12738411"/>
              <a:gd name="connsiteY6" fmla="*/ 1354 h 3579928"/>
              <a:gd name="connsiteX7" fmla="*/ 12704957 w 12738411"/>
              <a:gd name="connsiteY7" fmla="*/ 870181 h 3579928"/>
              <a:gd name="connsiteX8" fmla="*/ 12738411 w 12738411"/>
              <a:gd name="connsiteY8" fmla="*/ 3490718 h 3579928"/>
              <a:gd name="connsiteX9" fmla="*/ 0 w 12738411"/>
              <a:gd name="connsiteY9" fmla="*/ 3579928 h 3579928"/>
              <a:gd name="connsiteX10" fmla="*/ 33455 w 12738411"/>
              <a:gd name="connsiteY10" fmla="*/ 2587470 h 3579928"/>
              <a:gd name="connsiteX0" fmla="*/ 33455 w 12738411"/>
              <a:gd name="connsiteY0" fmla="*/ 2587470 h 3579928"/>
              <a:gd name="connsiteX1" fmla="*/ 1360451 w 12738411"/>
              <a:gd name="connsiteY1" fmla="*/ 2364344 h 3579928"/>
              <a:gd name="connsiteX2" fmla="*/ 3367670 w 12738411"/>
              <a:gd name="connsiteY2" fmla="*/ 1685188 h 3579928"/>
              <a:gd name="connsiteX3" fmla="*/ 5029202 w 12738411"/>
              <a:gd name="connsiteY3" fmla="*/ 1941669 h 3579928"/>
              <a:gd name="connsiteX4" fmla="*/ 6568070 w 12738411"/>
              <a:gd name="connsiteY4" fmla="*/ 837695 h 3579928"/>
              <a:gd name="connsiteX5" fmla="*/ 8486080 w 12738411"/>
              <a:gd name="connsiteY5" fmla="*/ 1728728 h 3579928"/>
              <a:gd name="connsiteX6" fmla="*/ 10582509 w 12738411"/>
              <a:gd name="connsiteY6" fmla="*/ 1354 h 3579928"/>
              <a:gd name="connsiteX7" fmla="*/ 12704957 w 12738411"/>
              <a:gd name="connsiteY7" fmla="*/ 870181 h 3579928"/>
              <a:gd name="connsiteX8" fmla="*/ 12738411 w 12738411"/>
              <a:gd name="connsiteY8" fmla="*/ 3490718 h 3579928"/>
              <a:gd name="connsiteX9" fmla="*/ 0 w 12738411"/>
              <a:gd name="connsiteY9" fmla="*/ 3579928 h 3579928"/>
              <a:gd name="connsiteX10" fmla="*/ 33455 w 12738411"/>
              <a:gd name="connsiteY10" fmla="*/ 2587470 h 3579928"/>
              <a:gd name="connsiteX0" fmla="*/ 0 w 12783015"/>
              <a:gd name="connsiteY0" fmla="*/ 2029909 h 3579928"/>
              <a:gd name="connsiteX1" fmla="*/ 1405055 w 12783015"/>
              <a:gd name="connsiteY1" fmla="*/ 2364344 h 3579928"/>
              <a:gd name="connsiteX2" fmla="*/ 3412274 w 12783015"/>
              <a:gd name="connsiteY2" fmla="*/ 1685188 h 3579928"/>
              <a:gd name="connsiteX3" fmla="*/ 5073806 w 12783015"/>
              <a:gd name="connsiteY3" fmla="*/ 1941669 h 3579928"/>
              <a:gd name="connsiteX4" fmla="*/ 6612674 w 12783015"/>
              <a:gd name="connsiteY4" fmla="*/ 837695 h 3579928"/>
              <a:gd name="connsiteX5" fmla="*/ 8530684 w 12783015"/>
              <a:gd name="connsiteY5" fmla="*/ 1728728 h 3579928"/>
              <a:gd name="connsiteX6" fmla="*/ 10627113 w 12783015"/>
              <a:gd name="connsiteY6" fmla="*/ 1354 h 3579928"/>
              <a:gd name="connsiteX7" fmla="*/ 12749561 w 12783015"/>
              <a:gd name="connsiteY7" fmla="*/ 870181 h 3579928"/>
              <a:gd name="connsiteX8" fmla="*/ 12783015 w 12783015"/>
              <a:gd name="connsiteY8" fmla="*/ 3490718 h 3579928"/>
              <a:gd name="connsiteX9" fmla="*/ 44604 w 12783015"/>
              <a:gd name="connsiteY9" fmla="*/ 3579928 h 3579928"/>
              <a:gd name="connsiteX10" fmla="*/ 0 w 12783015"/>
              <a:gd name="connsiteY10" fmla="*/ 2029909 h 3579928"/>
              <a:gd name="connsiteX0" fmla="*/ 0 w 12783015"/>
              <a:gd name="connsiteY0" fmla="*/ 2029909 h 3579928"/>
              <a:gd name="connsiteX1" fmla="*/ 1405055 w 12783015"/>
              <a:gd name="connsiteY1" fmla="*/ 2364344 h 3579928"/>
              <a:gd name="connsiteX2" fmla="*/ 3412274 w 12783015"/>
              <a:gd name="connsiteY2" fmla="*/ 1685188 h 3579928"/>
              <a:gd name="connsiteX3" fmla="*/ 5073806 w 12783015"/>
              <a:gd name="connsiteY3" fmla="*/ 1941669 h 3579928"/>
              <a:gd name="connsiteX4" fmla="*/ 6612674 w 12783015"/>
              <a:gd name="connsiteY4" fmla="*/ 837695 h 3579928"/>
              <a:gd name="connsiteX5" fmla="*/ 8530684 w 12783015"/>
              <a:gd name="connsiteY5" fmla="*/ 1728728 h 3579928"/>
              <a:gd name="connsiteX6" fmla="*/ 10627113 w 12783015"/>
              <a:gd name="connsiteY6" fmla="*/ 1354 h 3579928"/>
              <a:gd name="connsiteX7" fmla="*/ 12749561 w 12783015"/>
              <a:gd name="connsiteY7" fmla="*/ 870181 h 3579928"/>
              <a:gd name="connsiteX8" fmla="*/ 12783015 w 12783015"/>
              <a:gd name="connsiteY8" fmla="*/ 3490718 h 3579928"/>
              <a:gd name="connsiteX9" fmla="*/ 44604 w 12783015"/>
              <a:gd name="connsiteY9" fmla="*/ 3579928 h 3579928"/>
              <a:gd name="connsiteX10" fmla="*/ 0 w 12783015"/>
              <a:gd name="connsiteY10" fmla="*/ 2029909 h 3579928"/>
              <a:gd name="connsiteX0" fmla="*/ 0 w 12783015"/>
              <a:gd name="connsiteY0" fmla="*/ 2029909 h 3579928"/>
              <a:gd name="connsiteX1" fmla="*/ 1661533 w 12783015"/>
              <a:gd name="connsiteY1" fmla="*/ 2364344 h 3579928"/>
              <a:gd name="connsiteX2" fmla="*/ 3412274 w 12783015"/>
              <a:gd name="connsiteY2" fmla="*/ 1685188 h 3579928"/>
              <a:gd name="connsiteX3" fmla="*/ 5073806 w 12783015"/>
              <a:gd name="connsiteY3" fmla="*/ 1941669 h 3579928"/>
              <a:gd name="connsiteX4" fmla="*/ 6612674 w 12783015"/>
              <a:gd name="connsiteY4" fmla="*/ 837695 h 3579928"/>
              <a:gd name="connsiteX5" fmla="*/ 8530684 w 12783015"/>
              <a:gd name="connsiteY5" fmla="*/ 1728728 h 3579928"/>
              <a:gd name="connsiteX6" fmla="*/ 10627113 w 12783015"/>
              <a:gd name="connsiteY6" fmla="*/ 1354 h 3579928"/>
              <a:gd name="connsiteX7" fmla="*/ 12749561 w 12783015"/>
              <a:gd name="connsiteY7" fmla="*/ 870181 h 3579928"/>
              <a:gd name="connsiteX8" fmla="*/ 12783015 w 12783015"/>
              <a:gd name="connsiteY8" fmla="*/ 3490718 h 3579928"/>
              <a:gd name="connsiteX9" fmla="*/ 44604 w 12783015"/>
              <a:gd name="connsiteY9" fmla="*/ 3579928 h 3579928"/>
              <a:gd name="connsiteX10" fmla="*/ 0 w 12783015"/>
              <a:gd name="connsiteY10" fmla="*/ 2029909 h 3579928"/>
              <a:gd name="connsiteX0" fmla="*/ 0 w 12783015"/>
              <a:gd name="connsiteY0" fmla="*/ 2029909 h 3579928"/>
              <a:gd name="connsiteX1" fmla="*/ 1661533 w 12783015"/>
              <a:gd name="connsiteY1" fmla="*/ 2364344 h 3579928"/>
              <a:gd name="connsiteX2" fmla="*/ 3412274 w 12783015"/>
              <a:gd name="connsiteY2" fmla="*/ 1685188 h 3579928"/>
              <a:gd name="connsiteX3" fmla="*/ 5073806 w 12783015"/>
              <a:gd name="connsiteY3" fmla="*/ 1941669 h 3579928"/>
              <a:gd name="connsiteX4" fmla="*/ 6612674 w 12783015"/>
              <a:gd name="connsiteY4" fmla="*/ 837695 h 3579928"/>
              <a:gd name="connsiteX5" fmla="*/ 8530684 w 12783015"/>
              <a:gd name="connsiteY5" fmla="*/ 1728728 h 3579928"/>
              <a:gd name="connsiteX6" fmla="*/ 10627113 w 12783015"/>
              <a:gd name="connsiteY6" fmla="*/ 1354 h 3579928"/>
              <a:gd name="connsiteX7" fmla="*/ 12749561 w 12783015"/>
              <a:gd name="connsiteY7" fmla="*/ 870181 h 3579928"/>
              <a:gd name="connsiteX8" fmla="*/ 12783015 w 12783015"/>
              <a:gd name="connsiteY8" fmla="*/ 3490718 h 3579928"/>
              <a:gd name="connsiteX9" fmla="*/ 44604 w 12783015"/>
              <a:gd name="connsiteY9" fmla="*/ 3579928 h 3579928"/>
              <a:gd name="connsiteX10" fmla="*/ 0 w 12783015"/>
              <a:gd name="connsiteY10" fmla="*/ 2029909 h 3579928"/>
              <a:gd name="connsiteX0" fmla="*/ 0 w 12783015"/>
              <a:gd name="connsiteY0" fmla="*/ 2029909 h 3579928"/>
              <a:gd name="connsiteX1" fmla="*/ 1661533 w 12783015"/>
              <a:gd name="connsiteY1" fmla="*/ 2364344 h 3579928"/>
              <a:gd name="connsiteX2" fmla="*/ 3412274 w 12783015"/>
              <a:gd name="connsiteY2" fmla="*/ 1685188 h 3579928"/>
              <a:gd name="connsiteX3" fmla="*/ 5073806 w 12783015"/>
              <a:gd name="connsiteY3" fmla="*/ 1941669 h 3579928"/>
              <a:gd name="connsiteX4" fmla="*/ 6612674 w 12783015"/>
              <a:gd name="connsiteY4" fmla="*/ 837695 h 3579928"/>
              <a:gd name="connsiteX5" fmla="*/ 8530684 w 12783015"/>
              <a:gd name="connsiteY5" fmla="*/ 1728728 h 3579928"/>
              <a:gd name="connsiteX6" fmla="*/ 10627113 w 12783015"/>
              <a:gd name="connsiteY6" fmla="*/ 1354 h 3579928"/>
              <a:gd name="connsiteX7" fmla="*/ 12749561 w 12783015"/>
              <a:gd name="connsiteY7" fmla="*/ 870181 h 3579928"/>
              <a:gd name="connsiteX8" fmla="*/ 12783015 w 12783015"/>
              <a:gd name="connsiteY8" fmla="*/ 3490718 h 3579928"/>
              <a:gd name="connsiteX9" fmla="*/ 44604 w 12783015"/>
              <a:gd name="connsiteY9" fmla="*/ 3579928 h 3579928"/>
              <a:gd name="connsiteX10" fmla="*/ 0 w 12783015"/>
              <a:gd name="connsiteY10" fmla="*/ 2029909 h 3579928"/>
              <a:gd name="connsiteX0" fmla="*/ 0 w 12783015"/>
              <a:gd name="connsiteY0" fmla="*/ 1951850 h 3579928"/>
              <a:gd name="connsiteX1" fmla="*/ 1661533 w 12783015"/>
              <a:gd name="connsiteY1" fmla="*/ 2364344 h 3579928"/>
              <a:gd name="connsiteX2" fmla="*/ 3412274 w 12783015"/>
              <a:gd name="connsiteY2" fmla="*/ 1685188 h 3579928"/>
              <a:gd name="connsiteX3" fmla="*/ 5073806 w 12783015"/>
              <a:gd name="connsiteY3" fmla="*/ 1941669 h 3579928"/>
              <a:gd name="connsiteX4" fmla="*/ 6612674 w 12783015"/>
              <a:gd name="connsiteY4" fmla="*/ 837695 h 3579928"/>
              <a:gd name="connsiteX5" fmla="*/ 8530684 w 12783015"/>
              <a:gd name="connsiteY5" fmla="*/ 1728728 h 3579928"/>
              <a:gd name="connsiteX6" fmla="*/ 10627113 w 12783015"/>
              <a:gd name="connsiteY6" fmla="*/ 1354 h 3579928"/>
              <a:gd name="connsiteX7" fmla="*/ 12749561 w 12783015"/>
              <a:gd name="connsiteY7" fmla="*/ 870181 h 3579928"/>
              <a:gd name="connsiteX8" fmla="*/ 12783015 w 12783015"/>
              <a:gd name="connsiteY8" fmla="*/ 3490718 h 3579928"/>
              <a:gd name="connsiteX9" fmla="*/ 44604 w 12783015"/>
              <a:gd name="connsiteY9" fmla="*/ 3579928 h 3579928"/>
              <a:gd name="connsiteX10" fmla="*/ 0 w 12783015"/>
              <a:gd name="connsiteY10" fmla="*/ 1951850 h 3579928"/>
              <a:gd name="connsiteX0" fmla="*/ 0 w 12783015"/>
              <a:gd name="connsiteY0" fmla="*/ 1951850 h 3579928"/>
              <a:gd name="connsiteX1" fmla="*/ 1661533 w 12783015"/>
              <a:gd name="connsiteY1" fmla="*/ 2364344 h 3579928"/>
              <a:gd name="connsiteX2" fmla="*/ 3412274 w 12783015"/>
              <a:gd name="connsiteY2" fmla="*/ 1685188 h 3579928"/>
              <a:gd name="connsiteX3" fmla="*/ 5073806 w 12783015"/>
              <a:gd name="connsiteY3" fmla="*/ 1941669 h 3579928"/>
              <a:gd name="connsiteX4" fmla="*/ 6612674 w 12783015"/>
              <a:gd name="connsiteY4" fmla="*/ 837695 h 3579928"/>
              <a:gd name="connsiteX5" fmla="*/ 8530684 w 12783015"/>
              <a:gd name="connsiteY5" fmla="*/ 1728728 h 3579928"/>
              <a:gd name="connsiteX6" fmla="*/ 10627113 w 12783015"/>
              <a:gd name="connsiteY6" fmla="*/ 1354 h 3579928"/>
              <a:gd name="connsiteX7" fmla="*/ 12749561 w 12783015"/>
              <a:gd name="connsiteY7" fmla="*/ 870181 h 3579928"/>
              <a:gd name="connsiteX8" fmla="*/ 12783015 w 12783015"/>
              <a:gd name="connsiteY8" fmla="*/ 3490718 h 3579928"/>
              <a:gd name="connsiteX9" fmla="*/ 44604 w 12783015"/>
              <a:gd name="connsiteY9" fmla="*/ 3579928 h 3579928"/>
              <a:gd name="connsiteX10" fmla="*/ 0 w 12783015"/>
              <a:gd name="connsiteY10" fmla="*/ 1951850 h 3579928"/>
              <a:gd name="connsiteX0" fmla="*/ 0 w 12783015"/>
              <a:gd name="connsiteY0" fmla="*/ 1951850 h 3579928"/>
              <a:gd name="connsiteX1" fmla="*/ 1661533 w 12783015"/>
              <a:gd name="connsiteY1" fmla="*/ 2364344 h 3579928"/>
              <a:gd name="connsiteX2" fmla="*/ 3412274 w 12783015"/>
              <a:gd name="connsiteY2" fmla="*/ 1685188 h 3579928"/>
              <a:gd name="connsiteX3" fmla="*/ 5073806 w 12783015"/>
              <a:gd name="connsiteY3" fmla="*/ 1941669 h 3579928"/>
              <a:gd name="connsiteX4" fmla="*/ 6612674 w 12783015"/>
              <a:gd name="connsiteY4" fmla="*/ 837695 h 3579928"/>
              <a:gd name="connsiteX5" fmla="*/ 8530684 w 12783015"/>
              <a:gd name="connsiteY5" fmla="*/ 1728728 h 3579928"/>
              <a:gd name="connsiteX6" fmla="*/ 10627113 w 12783015"/>
              <a:gd name="connsiteY6" fmla="*/ 1354 h 3579928"/>
              <a:gd name="connsiteX7" fmla="*/ 12749561 w 12783015"/>
              <a:gd name="connsiteY7" fmla="*/ 870181 h 3579928"/>
              <a:gd name="connsiteX8" fmla="*/ 12783015 w 12783015"/>
              <a:gd name="connsiteY8" fmla="*/ 3490718 h 3579928"/>
              <a:gd name="connsiteX9" fmla="*/ 44604 w 12783015"/>
              <a:gd name="connsiteY9" fmla="*/ 3579928 h 3579928"/>
              <a:gd name="connsiteX10" fmla="*/ 0 w 12783015"/>
              <a:gd name="connsiteY10" fmla="*/ 1951850 h 3579928"/>
              <a:gd name="connsiteX0" fmla="*/ 0 w 12783015"/>
              <a:gd name="connsiteY0" fmla="*/ 1951850 h 3579928"/>
              <a:gd name="connsiteX1" fmla="*/ 1650382 w 12783015"/>
              <a:gd name="connsiteY1" fmla="*/ 2297436 h 3579928"/>
              <a:gd name="connsiteX2" fmla="*/ 3412274 w 12783015"/>
              <a:gd name="connsiteY2" fmla="*/ 1685188 h 3579928"/>
              <a:gd name="connsiteX3" fmla="*/ 5073806 w 12783015"/>
              <a:gd name="connsiteY3" fmla="*/ 1941669 h 3579928"/>
              <a:gd name="connsiteX4" fmla="*/ 6612674 w 12783015"/>
              <a:gd name="connsiteY4" fmla="*/ 837695 h 3579928"/>
              <a:gd name="connsiteX5" fmla="*/ 8530684 w 12783015"/>
              <a:gd name="connsiteY5" fmla="*/ 1728728 h 3579928"/>
              <a:gd name="connsiteX6" fmla="*/ 10627113 w 12783015"/>
              <a:gd name="connsiteY6" fmla="*/ 1354 h 3579928"/>
              <a:gd name="connsiteX7" fmla="*/ 12749561 w 12783015"/>
              <a:gd name="connsiteY7" fmla="*/ 870181 h 3579928"/>
              <a:gd name="connsiteX8" fmla="*/ 12783015 w 12783015"/>
              <a:gd name="connsiteY8" fmla="*/ 3490718 h 3579928"/>
              <a:gd name="connsiteX9" fmla="*/ 44604 w 12783015"/>
              <a:gd name="connsiteY9" fmla="*/ 3579928 h 3579928"/>
              <a:gd name="connsiteX10" fmla="*/ 0 w 12783015"/>
              <a:gd name="connsiteY10" fmla="*/ 1951850 h 3579928"/>
              <a:gd name="connsiteX0" fmla="*/ 0 w 12783015"/>
              <a:gd name="connsiteY0" fmla="*/ 1951850 h 3579928"/>
              <a:gd name="connsiteX1" fmla="*/ 1650382 w 12783015"/>
              <a:gd name="connsiteY1" fmla="*/ 2297436 h 3579928"/>
              <a:gd name="connsiteX2" fmla="*/ 3557240 w 12783015"/>
              <a:gd name="connsiteY2" fmla="*/ 1696340 h 3579928"/>
              <a:gd name="connsiteX3" fmla="*/ 5073806 w 12783015"/>
              <a:gd name="connsiteY3" fmla="*/ 1941669 h 3579928"/>
              <a:gd name="connsiteX4" fmla="*/ 6612674 w 12783015"/>
              <a:gd name="connsiteY4" fmla="*/ 837695 h 3579928"/>
              <a:gd name="connsiteX5" fmla="*/ 8530684 w 12783015"/>
              <a:gd name="connsiteY5" fmla="*/ 1728728 h 3579928"/>
              <a:gd name="connsiteX6" fmla="*/ 10627113 w 12783015"/>
              <a:gd name="connsiteY6" fmla="*/ 1354 h 3579928"/>
              <a:gd name="connsiteX7" fmla="*/ 12749561 w 12783015"/>
              <a:gd name="connsiteY7" fmla="*/ 870181 h 3579928"/>
              <a:gd name="connsiteX8" fmla="*/ 12783015 w 12783015"/>
              <a:gd name="connsiteY8" fmla="*/ 3490718 h 3579928"/>
              <a:gd name="connsiteX9" fmla="*/ 44604 w 12783015"/>
              <a:gd name="connsiteY9" fmla="*/ 3579928 h 3579928"/>
              <a:gd name="connsiteX10" fmla="*/ 0 w 12783015"/>
              <a:gd name="connsiteY10" fmla="*/ 1951850 h 3579928"/>
              <a:gd name="connsiteX0" fmla="*/ 0 w 12783015"/>
              <a:gd name="connsiteY0" fmla="*/ 1951238 h 3579316"/>
              <a:gd name="connsiteX1" fmla="*/ 1650382 w 12783015"/>
              <a:gd name="connsiteY1" fmla="*/ 2296824 h 3579316"/>
              <a:gd name="connsiteX2" fmla="*/ 3557240 w 12783015"/>
              <a:gd name="connsiteY2" fmla="*/ 1695728 h 3579316"/>
              <a:gd name="connsiteX3" fmla="*/ 5073806 w 12783015"/>
              <a:gd name="connsiteY3" fmla="*/ 1941057 h 3579316"/>
              <a:gd name="connsiteX4" fmla="*/ 6612674 w 12783015"/>
              <a:gd name="connsiteY4" fmla="*/ 837083 h 3579316"/>
              <a:gd name="connsiteX5" fmla="*/ 8530684 w 12783015"/>
              <a:gd name="connsiteY5" fmla="*/ 1728116 h 3579316"/>
              <a:gd name="connsiteX6" fmla="*/ 10627113 w 12783015"/>
              <a:gd name="connsiteY6" fmla="*/ 742 h 3579316"/>
              <a:gd name="connsiteX7" fmla="*/ 12749561 w 12783015"/>
              <a:gd name="connsiteY7" fmla="*/ 869569 h 3579316"/>
              <a:gd name="connsiteX8" fmla="*/ 12783015 w 12783015"/>
              <a:gd name="connsiteY8" fmla="*/ 3490106 h 3579316"/>
              <a:gd name="connsiteX9" fmla="*/ 44604 w 12783015"/>
              <a:gd name="connsiteY9" fmla="*/ 3579316 h 3579316"/>
              <a:gd name="connsiteX10" fmla="*/ 0 w 12783015"/>
              <a:gd name="connsiteY10" fmla="*/ 1951238 h 3579316"/>
              <a:gd name="connsiteX0" fmla="*/ 0 w 12783015"/>
              <a:gd name="connsiteY0" fmla="*/ 1951238 h 3579316"/>
              <a:gd name="connsiteX1" fmla="*/ 1650382 w 12783015"/>
              <a:gd name="connsiteY1" fmla="*/ 2296824 h 3579316"/>
              <a:gd name="connsiteX2" fmla="*/ 3166947 w 12783015"/>
              <a:gd name="connsiteY2" fmla="*/ 1662274 h 3579316"/>
              <a:gd name="connsiteX3" fmla="*/ 5073806 w 12783015"/>
              <a:gd name="connsiteY3" fmla="*/ 1941057 h 3579316"/>
              <a:gd name="connsiteX4" fmla="*/ 6612674 w 12783015"/>
              <a:gd name="connsiteY4" fmla="*/ 837083 h 3579316"/>
              <a:gd name="connsiteX5" fmla="*/ 8530684 w 12783015"/>
              <a:gd name="connsiteY5" fmla="*/ 1728116 h 3579316"/>
              <a:gd name="connsiteX6" fmla="*/ 10627113 w 12783015"/>
              <a:gd name="connsiteY6" fmla="*/ 742 h 3579316"/>
              <a:gd name="connsiteX7" fmla="*/ 12749561 w 12783015"/>
              <a:gd name="connsiteY7" fmla="*/ 869569 h 3579316"/>
              <a:gd name="connsiteX8" fmla="*/ 12783015 w 12783015"/>
              <a:gd name="connsiteY8" fmla="*/ 3490106 h 3579316"/>
              <a:gd name="connsiteX9" fmla="*/ 44604 w 12783015"/>
              <a:gd name="connsiteY9" fmla="*/ 3579316 h 3579316"/>
              <a:gd name="connsiteX10" fmla="*/ 0 w 12783015"/>
              <a:gd name="connsiteY10" fmla="*/ 1951238 h 3579316"/>
              <a:gd name="connsiteX0" fmla="*/ 0 w 12783015"/>
              <a:gd name="connsiteY0" fmla="*/ 1951238 h 3579316"/>
              <a:gd name="connsiteX1" fmla="*/ 1650382 w 12783015"/>
              <a:gd name="connsiteY1" fmla="*/ 2296824 h 3579316"/>
              <a:gd name="connsiteX2" fmla="*/ 3166947 w 12783015"/>
              <a:gd name="connsiteY2" fmla="*/ 1662274 h 3579316"/>
              <a:gd name="connsiteX3" fmla="*/ 5073806 w 12783015"/>
              <a:gd name="connsiteY3" fmla="*/ 1941057 h 3579316"/>
              <a:gd name="connsiteX4" fmla="*/ 6612674 w 12783015"/>
              <a:gd name="connsiteY4" fmla="*/ 837083 h 3579316"/>
              <a:gd name="connsiteX5" fmla="*/ 8530684 w 12783015"/>
              <a:gd name="connsiteY5" fmla="*/ 1728116 h 3579316"/>
              <a:gd name="connsiteX6" fmla="*/ 10627113 w 12783015"/>
              <a:gd name="connsiteY6" fmla="*/ 742 h 3579316"/>
              <a:gd name="connsiteX7" fmla="*/ 12749561 w 12783015"/>
              <a:gd name="connsiteY7" fmla="*/ 869569 h 3579316"/>
              <a:gd name="connsiteX8" fmla="*/ 12783015 w 12783015"/>
              <a:gd name="connsiteY8" fmla="*/ 3490106 h 3579316"/>
              <a:gd name="connsiteX9" fmla="*/ 44604 w 12783015"/>
              <a:gd name="connsiteY9" fmla="*/ 3579316 h 3579316"/>
              <a:gd name="connsiteX10" fmla="*/ 0 w 12783015"/>
              <a:gd name="connsiteY10" fmla="*/ 1951238 h 3579316"/>
              <a:gd name="connsiteX0" fmla="*/ 0 w 12783015"/>
              <a:gd name="connsiteY0" fmla="*/ 1951238 h 3579316"/>
              <a:gd name="connsiteX1" fmla="*/ 1405056 w 12783015"/>
              <a:gd name="connsiteY1" fmla="*/ 2263371 h 3579316"/>
              <a:gd name="connsiteX2" fmla="*/ 3166947 w 12783015"/>
              <a:gd name="connsiteY2" fmla="*/ 1662274 h 3579316"/>
              <a:gd name="connsiteX3" fmla="*/ 5073806 w 12783015"/>
              <a:gd name="connsiteY3" fmla="*/ 1941057 h 3579316"/>
              <a:gd name="connsiteX4" fmla="*/ 6612674 w 12783015"/>
              <a:gd name="connsiteY4" fmla="*/ 837083 h 3579316"/>
              <a:gd name="connsiteX5" fmla="*/ 8530684 w 12783015"/>
              <a:gd name="connsiteY5" fmla="*/ 1728116 h 3579316"/>
              <a:gd name="connsiteX6" fmla="*/ 10627113 w 12783015"/>
              <a:gd name="connsiteY6" fmla="*/ 742 h 3579316"/>
              <a:gd name="connsiteX7" fmla="*/ 12749561 w 12783015"/>
              <a:gd name="connsiteY7" fmla="*/ 869569 h 3579316"/>
              <a:gd name="connsiteX8" fmla="*/ 12783015 w 12783015"/>
              <a:gd name="connsiteY8" fmla="*/ 3490106 h 3579316"/>
              <a:gd name="connsiteX9" fmla="*/ 44604 w 12783015"/>
              <a:gd name="connsiteY9" fmla="*/ 3579316 h 3579316"/>
              <a:gd name="connsiteX10" fmla="*/ 0 w 12783015"/>
              <a:gd name="connsiteY10" fmla="*/ 1951238 h 3579316"/>
              <a:gd name="connsiteX0" fmla="*/ 0 w 12783015"/>
              <a:gd name="connsiteY0" fmla="*/ 1951238 h 3579316"/>
              <a:gd name="connsiteX1" fmla="*/ 1405056 w 12783015"/>
              <a:gd name="connsiteY1" fmla="*/ 2263371 h 3579316"/>
              <a:gd name="connsiteX2" fmla="*/ 3166947 w 12783015"/>
              <a:gd name="connsiteY2" fmla="*/ 1662274 h 3579316"/>
              <a:gd name="connsiteX3" fmla="*/ 4850781 w 12783015"/>
              <a:gd name="connsiteY3" fmla="*/ 1941057 h 3579316"/>
              <a:gd name="connsiteX4" fmla="*/ 6612674 w 12783015"/>
              <a:gd name="connsiteY4" fmla="*/ 837083 h 3579316"/>
              <a:gd name="connsiteX5" fmla="*/ 8530684 w 12783015"/>
              <a:gd name="connsiteY5" fmla="*/ 1728116 h 3579316"/>
              <a:gd name="connsiteX6" fmla="*/ 10627113 w 12783015"/>
              <a:gd name="connsiteY6" fmla="*/ 742 h 3579316"/>
              <a:gd name="connsiteX7" fmla="*/ 12749561 w 12783015"/>
              <a:gd name="connsiteY7" fmla="*/ 869569 h 3579316"/>
              <a:gd name="connsiteX8" fmla="*/ 12783015 w 12783015"/>
              <a:gd name="connsiteY8" fmla="*/ 3490106 h 3579316"/>
              <a:gd name="connsiteX9" fmla="*/ 44604 w 12783015"/>
              <a:gd name="connsiteY9" fmla="*/ 3579316 h 3579316"/>
              <a:gd name="connsiteX10" fmla="*/ 0 w 12783015"/>
              <a:gd name="connsiteY10" fmla="*/ 1951238 h 3579316"/>
              <a:gd name="connsiteX0" fmla="*/ 0 w 12783015"/>
              <a:gd name="connsiteY0" fmla="*/ 1951238 h 3579316"/>
              <a:gd name="connsiteX1" fmla="*/ 1405056 w 12783015"/>
              <a:gd name="connsiteY1" fmla="*/ 2263371 h 3579316"/>
              <a:gd name="connsiteX2" fmla="*/ 3166947 w 12783015"/>
              <a:gd name="connsiteY2" fmla="*/ 1662274 h 3579316"/>
              <a:gd name="connsiteX3" fmla="*/ 4850781 w 12783015"/>
              <a:gd name="connsiteY3" fmla="*/ 1941057 h 3579316"/>
              <a:gd name="connsiteX4" fmla="*/ 6612674 w 12783015"/>
              <a:gd name="connsiteY4" fmla="*/ 837083 h 3579316"/>
              <a:gd name="connsiteX5" fmla="*/ 8530684 w 12783015"/>
              <a:gd name="connsiteY5" fmla="*/ 1728116 h 3579316"/>
              <a:gd name="connsiteX6" fmla="*/ 10627113 w 12783015"/>
              <a:gd name="connsiteY6" fmla="*/ 742 h 3579316"/>
              <a:gd name="connsiteX7" fmla="*/ 12749561 w 12783015"/>
              <a:gd name="connsiteY7" fmla="*/ 869569 h 3579316"/>
              <a:gd name="connsiteX8" fmla="*/ 12783015 w 12783015"/>
              <a:gd name="connsiteY8" fmla="*/ 3490106 h 3579316"/>
              <a:gd name="connsiteX9" fmla="*/ 44604 w 12783015"/>
              <a:gd name="connsiteY9" fmla="*/ 3579316 h 3579316"/>
              <a:gd name="connsiteX10" fmla="*/ 0 w 12783015"/>
              <a:gd name="connsiteY10" fmla="*/ 1951238 h 3579316"/>
              <a:gd name="connsiteX0" fmla="*/ 0 w 12783015"/>
              <a:gd name="connsiteY0" fmla="*/ 1951238 h 3579316"/>
              <a:gd name="connsiteX1" fmla="*/ 1405056 w 12783015"/>
              <a:gd name="connsiteY1" fmla="*/ 2263371 h 3579316"/>
              <a:gd name="connsiteX2" fmla="*/ 3166947 w 12783015"/>
              <a:gd name="connsiteY2" fmla="*/ 1662274 h 3579316"/>
              <a:gd name="connsiteX3" fmla="*/ 4728118 w 12783015"/>
              <a:gd name="connsiteY3" fmla="*/ 1952209 h 3579316"/>
              <a:gd name="connsiteX4" fmla="*/ 6612674 w 12783015"/>
              <a:gd name="connsiteY4" fmla="*/ 837083 h 3579316"/>
              <a:gd name="connsiteX5" fmla="*/ 8530684 w 12783015"/>
              <a:gd name="connsiteY5" fmla="*/ 1728116 h 3579316"/>
              <a:gd name="connsiteX6" fmla="*/ 10627113 w 12783015"/>
              <a:gd name="connsiteY6" fmla="*/ 742 h 3579316"/>
              <a:gd name="connsiteX7" fmla="*/ 12749561 w 12783015"/>
              <a:gd name="connsiteY7" fmla="*/ 869569 h 3579316"/>
              <a:gd name="connsiteX8" fmla="*/ 12783015 w 12783015"/>
              <a:gd name="connsiteY8" fmla="*/ 3490106 h 3579316"/>
              <a:gd name="connsiteX9" fmla="*/ 44604 w 12783015"/>
              <a:gd name="connsiteY9" fmla="*/ 3579316 h 3579316"/>
              <a:gd name="connsiteX10" fmla="*/ 0 w 12783015"/>
              <a:gd name="connsiteY10" fmla="*/ 1951238 h 3579316"/>
              <a:gd name="connsiteX0" fmla="*/ 0 w 12783015"/>
              <a:gd name="connsiteY0" fmla="*/ 1951238 h 3579316"/>
              <a:gd name="connsiteX1" fmla="*/ 1405056 w 12783015"/>
              <a:gd name="connsiteY1" fmla="*/ 2263371 h 3579316"/>
              <a:gd name="connsiteX2" fmla="*/ 2720899 w 12783015"/>
              <a:gd name="connsiteY2" fmla="*/ 1729181 h 3579316"/>
              <a:gd name="connsiteX3" fmla="*/ 4728118 w 12783015"/>
              <a:gd name="connsiteY3" fmla="*/ 1952209 h 3579316"/>
              <a:gd name="connsiteX4" fmla="*/ 6612674 w 12783015"/>
              <a:gd name="connsiteY4" fmla="*/ 837083 h 3579316"/>
              <a:gd name="connsiteX5" fmla="*/ 8530684 w 12783015"/>
              <a:gd name="connsiteY5" fmla="*/ 1728116 h 3579316"/>
              <a:gd name="connsiteX6" fmla="*/ 10627113 w 12783015"/>
              <a:gd name="connsiteY6" fmla="*/ 742 h 3579316"/>
              <a:gd name="connsiteX7" fmla="*/ 12749561 w 12783015"/>
              <a:gd name="connsiteY7" fmla="*/ 869569 h 3579316"/>
              <a:gd name="connsiteX8" fmla="*/ 12783015 w 12783015"/>
              <a:gd name="connsiteY8" fmla="*/ 3490106 h 3579316"/>
              <a:gd name="connsiteX9" fmla="*/ 44604 w 12783015"/>
              <a:gd name="connsiteY9" fmla="*/ 3579316 h 3579316"/>
              <a:gd name="connsiteX10" fmla="*/ 0 w 12783015"/>
              <a:gd name="connsiteY10" fmla="*/ 1951238 h 3579316"/>
              <a:gd name="connsiteX0" fmla="*/ 0 w 12783015"/>
              <a:gd name="connsiteY0" fmla="*/ 1951238 h 3579316"/>
              <a:gd name="connsiteX1" fmla="*/ 825192 w 12783015"/>
              <a:gd name="connsiteY1" fmla="*/ 2229918 h 3579316"/>
              <a:gd name="connsiteX2" fmla="*/ 2720899 w 12783015"/>
              <a:gd name="connsiteY2" fmla="*/ 1729181 h 3579316"/>
              <a:gd name="connsiteX3" fmla="*/ 4728118 w 12783015"/>
              <a:gd name="connsiteY3" fmla="*/ 1952209 h 3579316"/>
              <a:gd name="connsiteX4" fmla="*/ 6612674 w 12783015"/>
              <a:gd name="connsiteY4" fmla="*/ 837083 h 3579316"/>
              <a:gd name="connsiteX5" fmla="*/ 8530684 w 12783015"/>
              <a:gd name="connsiteY5" fmla="*/ 1728116 h 3579316"/>
              <a:gd name="connsiteX6" fmla="*/ 10627113 w 12783015"/>
              <a:gd name="connsiteY6" fmla="*/ 742 h 3579316"/>
              <a:gd name="connsiteX7" fmla="*/ 12749561 w 12783015"/>
              <a:gd name="connsiteY7" fmla="*/ 869569 h 3579316"/>
              <a:gd name="connsiteX8" fmla="*/ 12783015 w 12783015"/>
              <a:gd name="connsiteY8" fmla="*/ 3490106 h 3579316"/>
              <a:gd name="connsiteX9" fmla="*/ 44604 w 12783015"/>
              <a:gd name="connsiteY9" fmla="*/ 3579316 h 3579316"/>
              <a:gd name="connsiteX10" fmla="*/ 0 w 12783015"/>
              <a:gd name="connsiteY10" fmla="*/ 1951238 h 3579316"/>
              <a:gd name="connsiteX0" fmla="*/ 0 w 13652811"/>
              <a:gd name="connsiteY0" fmla="*/ 1917784 h 3579316"/>
              <a:gd name="connsiteX1" fmla="*/ 1694988 w 13652811"/>
              <a:gd name="connsiteY1" fmla="*/ 2229918 h 3579316"/>
              <a:gd name="connsiteX2" fmla="*/ 3590695 w 13652811"/>
              <a:gd name="connsiteY2" fmla="*/ 1729181 h 3579316"/>
              <a:gd name="connsiteX3" fmla="*/ 5597914 w 13652811"/>
              <a:gd name="connsiteY3" fmla="*/ 1952209 h 3579316"/>
              <a:gd name="connsiteX4" fmla="*/ 7482470 w 13652811"/>
              <a:gd name="connsiteY4" fmla="*/ 837083 h 3579316"/>
              <a:gd name="connsiteX5" fmla="*/ 9400480 w 13652811"/>
              <a:gd name="connsiteY5" fmla="*/ 1728116 h 3579316"/>
              <a:gd name="connsiteX6" fmla="*/ 11496909 w 13652811"/>
              <a:gd name="connsiteY6" fmla="*/ 742 h 3579316"/>
              <a:gd name="connsiteX7" fmla="*/ 13619357 w 13652811"/>
              <a:gd name="connsiteY7" fmla="*/ 869569 h 3579316"/>
              <a:gd name="connsiteX8" fmla="*/ 13652811 w 13652811"/>
              <a:gd name="connsiteY8" fmla="*/ 3490106 h 3579316"/>
              <a:gd name="connsiteX9" fmla="*/ 914400 w 13652811"/>
              <a:gd name="connsiteY9" fmla="*/ 3579316 h 3579316"/>
              <a:gd name="connsiteX10" fmla="*/ 0 w 13652811"/>
              <a:gd name="connsiteY10" fmla="*/ 1917784 h 3579316"/>
              <a:gd name="connsiteX0" fmla="*/ 0 w 13652811"/>
              <a:gd name="connsiteY0" fmla="*/ 1917784 h 3579316"/>
              <a:gd name="connsiteX1" fmla="*/ 1694988 w 13652811"/>
              <a:gd name="connsiteY1" fmla="*/ 2229918 h 3579316"/>
              <a:gd name="connsiteX2" fmla="*/ 3590695 w 13652811"/>
              <a:gd name="connsiteY2" fmla="*/ 1729181 h 3579316"/>
              <a:gd name="connsiteX3" fmla="*/ 5597914 w 13652811"/>
              <a:gd name="connsiteY3" fmla="*/ 1952209 h 3579316"/>
              <a:gd name="connsiteX4" fmla="*/ 7482470 w 13652811"/>
              <a:gd name="connsiteY4" fmla="*/ 837083 h 3579316"/>
              <a:gd name="connsiteX5" fmla="*/ 9400480 w 13652811"/>
              <a:gd name="connsiteY5" fmla="*/ 1728116 h 3579316"/>
              <a:gd name="connsiteX6" fmla="*/ 11496909 w 13652811"/>
              <a:gd name="connsiteY6" fmla="*/ 742 h 3579316"/>
              <a:gd name="connsiteX7" fmla="*/ 13619357 w 13652811"/>
              <a:gd name="connsiteY7" fmla="*/ 869569 h 3579316"/>
              <a:gd name="connsiteX8" fmla="*/ 13652811 w 13652811"/>
              <a:gd name="connsiteY8" fmla="*/ 3490106 h 3579316"/>
              <a:gd name="connsiteX9" fmla="*/ 914400 w 13652811"/>
              <a:gd name="connsiteY9" fmla="*/ 3579316 h 3579316"/>
              <a:gd name="connsiteX10" fmla="*/ 55757 w 13652811"/>
              <a:gd name="connsiteY10" fmla="*/ 3568359 h 3579316"/>
              <a:gd name="connsiteX11" fmla="*/ 0 w 13652811"/>
              <a:gd name="connsiteY11" fmla="*/ 1917784 h 3579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811" h="3579316">
                <a:moveTo>
                  <a:pt x="0" y="1917784"/>
                </a:moveTo>
                <a:cubicBezTo>
                  <a:pt x="470210" y="1893607"/>
                  <a:pt x="1096539" y="2261352"/>
                  <a:pt x="1694988" y="2229918"/>
                </a:cubicBezTo>
                <a:cubicBezTo>
                  <a:pt x="2293437" y="2198484"/>
                  <a:pt x="2940207" y="1775466"/>
                  <a:pt x="3590695" y="1729181"/>
                </a:cubicBezTo>
                <a:cubicBezTo>
                  <a:pt x="4241183" y="1682896"/>
                  <a:pt x="4949285" y="2100892"/>
                  <a:pt x="5597914" y="1952209"/>
                </a:cubicBezTo>
                <a:cubicBezTo>
                  <a:pt x="6246543" y="1803526"/>
                  <a:pt x="6848709" y="874432"/>
                  <a:pt x="7482470" y="837083"/>
                </a:cubicBezTo>
                <a:cubicBezTo>
                  <a:pt x="8116231" y="799734"/>
                  <a:pt x="8575290" y="1711389"/>
                  <a:pt x="9400480" y="1728116"/>
                </a:cubicBezTo>
                <a:cubicBezTo>
                  <a:pt x="10225670" y="1744843"/>
                  <a:pt x="10738007" y="32321"/>
                  <a:pt x="11496909" y="742"/>
                </a:cubicBezTo>
                <a:cubicBezTo>
                  <a:pt x="12255811" y="-30837"/>
                  <a:pt x="12916210" y="957082"/>
                  <a:pt x="13619357" y="869569"/>
                </a:cubicBezTo>
                <a:lnTo>
                  <a:pt x="13652811" y="3490106"/>
                </a:lnTo>
                <a:lnTo>
                  <a:pt x="914400" y="3579316"/>
                </a:lnTo>
                <a:cubicBezTo>
                  <a:pt x="899532" y="3557078"/>
                  <a:pt x="70625" y="3590597"/>
                  <a:pt x="55757" y="3568359"/>
                </a:cubicBezTo>
                <a:lnTo>
                  <a:pt x="0" y="19177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Rectangle 6">
            <a:extLst>
              <a:ext uri="{FF2B5EF4-FFF2-40B4-BE49-F238E27FC236}">
                <a16:creationId xmlns="" xmlns:a16="http://schemas.microsoft.com/office/drawing/2014/main" id="{3390C13B-E9A4-AD47-AD39-24EA35C9C94D}"/>
              </a:ext>
            </a:extLst>
          </p:cNvPr>
          <p:cNvSpPr/>
          <p:nvPr userDrawn="1"/>
        </p:nvSpPr>
        <p:spPr>
          <a:xfrm>
            <a:off x="-111510" y="3166755"/>
            <a:ext cx="12381572" cy="3802565"/>
          </a:xfrm>
          <a:custGeom>
            <a:avLst/>
            <a:gdLst>
              <a:gd name="connsiteX0" fmla="*/ 0 w 12192000"/>
              <a:gd name="connsiteY0" fmla="*/ 0 h 769434"/>
              <a:gd name="connsiteX1" fmla="*/ 12192000 w 12192000"/>
              <a:gd name="connsiteY1" fmla="*/ 0 h 769434"/>
              <a:gd name="connsiteX2" fmla="*/ 12192000 w 12192000"/>
              <a:gd name="connsiteY2" fmla="*/ 769434 h 769434"/>
              <a:gd name="connsiteX3" fmla="*/ 0 w 12192000"/>
              <a:gd name="connsiteY3" fmla="*/ 769434 h 769434"/>
              <a:gd name="connsiteX4" fmla="*/ 0 w 12192000"/>
              <a:gd name="connsiteY4" fmla="*/ 0 h 769434"/>
              <a:gd name="connsiteX0" fmla="*/ 0 w 12192000"/>
              <a:gd name="connsiteY0" fmla="*/ 0 h 769434"/>
              <a:gd name="connsiteX1" fmla="*/ 7560527 w 12192000"/>
              <a:gd name="connsiteY1" fmla="*/ 12120 h 769434"/>
              <a:gd name="connsiteX2" fmla="*/ 12192000 w 12192000"/>
              <a:gd name="connsiteY2" fmla="*/ 0 h 769434"/>
              <a:gd name="connsiteX3" fmla="*/ 12192000 w 12192000"/>
              <a:gd name="connsiteY3" fmla="*/ 769434 h 769434"/>
              <a:gd name="connsiteX4" fmla="*/ 0 w 12192000"/>
              <a:gd name="connsiteY4" fmla="*/ 769434 h 769434"/>
              <a:gd name="connsiteX5" fmla="*/ 0 w 12192000"/>
              <a:gd name="connsiteY5" fmla="*/ 0 h 769434"/>
              <a:gd name="connsiteX0" fmla="*/ 0 w 12192000"/>
              <a:gd name="connsiteY0" fmla="*/ 0 h 769434"/>
              <a:gd name="connsiteX1" fmla="*/ 7560527 w 12192000"/>
              <a:gd name="connsiteY1" fmla="*/ 12120 h 769434"/>
              <a:gd name="connsiteX2" fmla="*/ 9623502 w 12192000"/>
              <a:gd name="connsiteY2" fmla="*/ 969 h 769434"/>
              <a:gd name="connsiteX3" fmla="*/ 12192000 w 12192000"/>
              <a:gd name="connsiteY3" fmla="*/ 0 h 769434"/>
              <a:gd name="connsiteX4" fmla="*/ 12192000 w 12192000"/>
              <a:gd name="connsiteY4" fmla="*/ 769434 h 769434"/>
              <a:gd name="connsiteX5" fmla="*/ 0 w 12192000"/>
              <a:gd name="connsiteY5" fmla="*/ 769434 h 769434"/>
              <a:gd name="connsiteX6" fmla="*/ 0 w 12192000"/>
              <a:gd name="connsiteY6" fmla="*/ 0 h 769434"/>
              <a:gd name="connsiteX0" fmla="*/ 0 w 12192000"/>
              <a:gd name="connsiteY0" fmla="*/ 0 h 769434"/>
              <a:gd name="connsiteX1" fmla="*/ 4025590 w 12192000"/>
              <a:gd name="connsiteY1" fmla="*/ 23271 h 769434"/>
              <a:gd name="connsiteX2" fmla="*/ 7560527 w 12192000"/>
              <a:gd name="connsiteY2" fmla="*/ 12120 h 769434"/>
              <a:gd name="connsiteX3" fmla="*/ 9623502 w 12192000"/>
              <a:gd name="connsiteY3" fmla="*/ 969 h 769434"/>
              <a:gd name="connsiteX4" fmla="*/ 12192000 w 12192000"/>
              <a:gd name="connsiteY4" fmla="*/ 0 h 769434"/>
              <a:gd name="connsiteX5" fmla="*/ 12192000 w 12192000"/>
              <a:gd name="connsiteY5" fmla="*/ 769434 h 769434"/>
              <a:gd name="connsiteX6" fmla="*/ 0 w 12192000"/>
              <a:gd name="connsiteY6" fmla="*/ 769434 h 769434"/>
              <a:gd name="connsiteX7" fmla="*/ 0 w 12192000"/>
              <a:gd name="connsiteY7" fmla="*/ 0 h 769434"/>
              <a:gd name="connsiteX0" fmla="*/ 0 w 12192000"/>
              <a:gd name="connsiteY0" fmla="*/ 0 h 769434"/>
              <a:gd name="connsiteX1" fmla="*/ 4025590 w 12192000"/>
              <a:gd name="connsiteY1" fmla="*/ 23271 h 769434"/>
              <a:gd name="connsiteX2" fmla="*/ 5564459 w 12192000"/>
              <a:gd name="connsiteY2" fmla="*/ 34423 h 769434"/>
              <a:gd name="connsiteX3" fmla="*/ 7560527 w 12192000"/>
              <a:gd name="connsiteY3" fmla="*/ 12120 h 769434"/>
              <a:gd name="connsiteX4" fmla="*/ 9623502 w 12192000"/>
              <a:gd name="connsiteY4" fmla="*/ 969 h 769434"/>
              <a:gd name="connsiteX5" fmla="*/ 12192000 w 12192000"/>
              <a:gd name="connsiteY5" fmla="*/ 0 h 769434"/>
              <a:gd name="connsiteX6" fmla="*/ 12192000 w 12192000"/>
              <a:gd name="connsiteY6" fmla="*/ 769434 h 769434"/>
              <a:gd name="connsiteX7" fmla="*/ 0 w 12192000"/>
              <a:gd name="connsiteY7" fmla="*/ 769434 h 769434"/>
              <a:gd name="connsiteX8" fmla="*/ 0 w 12192000"/>
              <a:gd name="connsiteY8" fmla="*/ 0 h 769434"/>
              <a:gd name="connsiteX0" fmla="*/ 0 w 12214303"/>
              <a:gd name="connsiteY0" fmla="*/ 2107581 h 2877015"/>
              <a:gd name="connsiteX1" fmla="*/ 4025590 w 12214303"/>
              <a:gd name="connsiteY1" fmla="*/ 2130852 h 2877015"/>
              <a:gd name="connsiteX2" fmla="*/ 5564459 w 12214303"/>
              <a:gd name="connsiteY2" fmla="*/ 2142004 h 2877015"/>
              <a:gd name="connsiteX3" fmla="*/ 7560527 w 12214303"/>
              <a:gd name="connsiteY3" fmla="*/ 2119701 h 2877015"/>
              <a:gd name="connsiteX4" fmla="*/ 9623502 w 12214303"/>
              <a:gd name="connsiteY4" fmla="*/ 2108550 h 2877015"/>
              <a:gd name="connsiteX5" fmla="*/ 12214303 w 12214303"/>
              <a:gd name="connsiteY5" fmla="*/ 0 h 2877015"/>
              <a:gd name="connsiteX6" fmla="*/ 12192000 w 12214303"/>
              <a:gd name="connsiteY6" fmla="*/ 2877015 h 2877015"/>
              <a:gd name="connsiteX7" fmla="*/ 0 w 12214303"/>
              <a:gd name="connsiteY7" fmla="*/ 2877015 h 2877015"/>
              <a:gd name="connsiteX8" fmla="*/ 0 w 12214303"/>
              <a:gd name="connsiteY8" fmla="*/ 2107581 h 2877015"/>
              <a:gd name="connsiteX0" fmla="*/ 0 w 12214303"/>
              <a:gd name="connsiteY0" fmla="*/ 2107581 h 2877015"/>
              <a:gd name="connsiteX1" fmla="*/ 4025590 w 12214303"/>
              <a:gd name="connsiteY1" fmla="*/ 2130852 h 2877015"/>
              <a:gd name="connsiteX2" fmla="*/ 5564459 w 12214303"/>
              <a:gd name="connsiteY2" fmla="*/ 2142004 h 2877015"/>
              <a:gd name="connsiteX3" fmla="*/ 7560527 w 12214303"/>
              <a:gd name="connsiteY3" fmla="*/ 2119701 h 2877015"/>
              <a:gd name="connsiteX4" fmla="*/ 9645805 w 12214303"/>
              <a:gd name="connsiteY4" fmla="*/ 1261057 h 2877015"/>
              <a:gd name="connsiteX5" fmla="*/ 12214303 w 12214303"/>
              <a:gd name="connsiteY5" fmla="*/ 0 h 2877015"/>
              <a:gd name="connsiteX6" fmla="*/ 12192000 w 12214303"/>
              <a:gd name="connsiteY6" fmla="*/ 2877015 h 2877015"/>
              <a:gd name="connsiteX7" fmla="*/ 0 w 12214303"/>
              <a:gd name="connsiteY7" fmla="*/ 2877015 h 2877015"/>
              <a:gd name="connsiteX8" fmla="*/ 0 w 12214303"/>
              <a:gd name="connsiteY8" fmla="*/ 2107581 h 2877015"/>
              <a:gd name="connsiteX0" fmla="*/ 0 w 12214303"/>
              <a:gd name="connsiteY0" fmla="*/ 2147260 h 2916694"/>
              <a:gd name="connsiteX1" fmla="*/ 4025590 w 12214303"/>
              <a:gd name="connsiteY1" fmla="*/ 2170531 h 2916694"/>
              <a:gd name="connsiteX2" fmla="*/ 5564459 w 12214303"/>
              <a:gd name="connsiteY2" fmla="*/ 2181683 h 2916694"/>
              <a:gd name="connsiteX3" fmla="*/ 7560527 w 12214303"/>
              <a:gd name="connsiteY3" fmla="*/ 2159380 h 2916694"/>
              <a:gd name="connsiteX4" fmla="*/ 9645805 w 12214303"/>
              <a:gd name="connsiteY4" fmla="*/ 1300736 h 2916694"/>
              <a:gd name="connsiteX5" fmla="*/ 12214303 w 12214303"/>
              <a:gd name="connsiteY5" fmla="*/ 39679 h 2916694"/>
              <a:gd name="connsiteX6" fmla="*/ 12192000 w 12214303"/>
              <a:gd name="connsiteY6" fmla="*/ 2916694 h 2916694"/>
              <a:gd name="connsiteX7" fmla="*/ 0 w 12214303"/>
              <a:gd name="connsiteY7" fmla="*/ 2916694 h 2916694"/>
              <a:gd name="connsiteX8" fmla="*/ 0 w 12214303"/>
              <a:gd name="connsiteY8" fmla="*/ 2147260 h 2916694"/>
              <a:gd name="connsiteX0" fmla="*/ 0 w 12214303"/>
              <a:gd name="connsiteY0" fmla="*/ 2141981 h 2911415"/>
              <a:gd name="connsiteX1" fmla="*/ 4025590 w 12214303"/>
              <a:gd name="connsiteY1" fmla="*/ 2165252 h 2911415"/>
              <a:gd name="connsiteX2" fmla="*/ 5564459 w 12214303"/>
              <a:gd name="connsiteY2" fmla="*/ 2176404 h 2911415"/>
              <a:gd name="connsiteX3" fmla="*/ 7627435 w 12214303"/>
              <a:gd name="connsiteY3" fmla="*/ 838257 h 2911415"/>
              <a:gd name="connsiteX4" fmla="*/ 9645805 w 12214303"/>
              <a:gd name="connsiteY4" fmla="*/ 1295457 h 2911415"/>
              <a:gd name="connsiteX5" fmla="*/ 12214303 w 12214303"/>
              <a:gd name="connsiteY5" fmla="*/ 34400 h 2911415"/>
              <a:gd name="connsiteX6" fmla="*/ 12192000 w 12214303"/>
              <a:gd name="connsiteY6" fmla="*/ 2911415 h 2911415"/>
              <a:gd name="connsiteX7" fmla="*/ 0 w 12214303"/>
              <a:gd name="connsiteY7" fmla="*/ 2911415 h 2911415"/>
              <a:gd name="connsiteX8" fmla="*/ 0 w 12214303"/>
              <a:gd name="connsiteY8" fmla="*/ 2141981 h 2911415"/>
              <a:gd name="connsiteX0" fmla="*/ 0 w 12214303"/>
              <a:gd name="connsiteY0" fmla="*/ 2141981 h 2911415"/>
              <a:gd name="connsiteX1" fmla="*/ 4025590 w 12214303"/>
              <a:gd name="connsiteY1" fmla="*/ 2165252 h 2911415"/>
              <a:gd name="connsiteX2" fmla="*/ 5564459 w 12214303"/>
              <a:gd name="connsiteY2" fmla="*/ 2176404 h 2911415"/>
              <a:gd name="connsiteX3" fmla="*/ 7627435 w 12214303"/>
              <a:gd name="connsiteY3" fmla="*/ 838257 h 2911415"/>
              <a:gd name="connsiteX4" fmla="*/ 9645805 w 12214303"/>
              <a:gd name="connsiteY4" fmla="*/ 1295457 h 2911415"/>
              <a:gd name="connsiteX5" fmla="*/ 12214303 w 12214303"/>
              <a:gd name="connsiteY5" fmla="*/ 34400 h 2911415"/>
              <a:gd name="connsiteX6" fmla="*/ 12192000 w 12214303"/>
              <a:gd name="connsiteY6" fmla="*/ 2911415 h 2911415"/>
              <a:gd name="connsiteX7" fmla="*/ 0 w 12214303"/>
              <a:gd name="connsiteY7" fmla="*/ 2911415 h 2911415"/>
              <a:gd name="connsiteX8" fmla="*/ 0 w 12214303"/>
              <a:gd name="connsiteY8" fmla="*/ 2141981 h 2911415"/>
              <a:gd name="connsiteX0" fmla="*/ 0 w 12214303"/>
              <a:gd name="connsiteY0" fmla="*/ 2141981 h 2911415"/>
              <a:gd name="connsiteX1" fmla="*/ 4025590 w 12214303"/>
              <a:gd name="connsiteY1" fmla="*/ 2165252 h 2911415"/>
              <a:gd name="connsiteX2" fmla="*/ 5564459 w 12214303"/>
              <a:gd name="connsiteY2" fmla="*/ 2176404 h 2911415"/>
              <a:gd name="connsiteX3" fmla="*/ 7627435 w 12214303"/>
              <a:gd name="connsiteY3" fmla="*/ 838257 h 2911415"/>
              <a:gd name="connsiteX4" fmla="*/ 9645805 w 12214303"/>
              <a:gd name="connsiteY4" fmla="*/ 1295457 h 2911415"/>
              <a:gd name="connsiteX5" fmla="*/ 12214303 w 12214303"/>
              <a:gd name="connsiteY5" fmla="*/ 34400 h 2911415"/>
              <a:gd name="connsiteX6" fmla="*/ 12192000 w 12214303"/>
              <a:gd name="connsiteY6" fmla="*/ 2911415 h 2911415"/>
              <a:gd name="connsiteX7" fmla="*/ 0 w 12214303"/>
              <a:gd name="connsiteY7" fmla="*/ 2911415 h 2911415"/>
              <a:gd name="connsiteX8" fmla="*/ 0 w 12214303"/>
              <a:gd name="connsiteY8" fmla="*/ 2141981 h 2911415"/>
              <a:gd name="connsiteX0" fmla="*/ 0 w 12214303"/>
              <a:gd name="connsiteY0" fmla="*/ 2107581 h 2877015"/>
              <a:gd name="connsiteX1" fmla="*/ 4025590 w 12214303"/>
              <a:gd name="connsiteY1" fmla="*/ 2130852 h 2877015"/>
              <a:gd name="connsiteX2" fmla="*/ 5564459 w 12214303"/>
              <a:gd name="connsiteY2" fmla="*/ 2142004 h 2877015"/>
              <a:gd name="connsiteX3" fmla="*/ 7627435 w 12214303"/>
              <a:gd name="connsiteY3" fmla="*/ 803857 h 2877015"/>
              <a:gd name="connsiteX4" fmla="*/ 9645805 w 12214303"/>
              <a:gd name="connsiteY4" fmla="*/ 1261057 h 2877015"/>
              <a:gd name="connsiteX5" fmla="*/ 12214303 w 12214303"/>
              <a:gd name="connsiteY5" fmla="*/ 0 h 2877015"/>
              <a:gd name="connsiteX6" fmla="*/ 12192000 w 12214303"/>
              <a:gd name="connsiteY6" fmla="*/ 2877015 h 2877015"/>
              <a:gd name="connsiteX7" fmla="*/ 0 w 12214303"/>
              <a:gd name="connsiteY7" fmla="*/ 2877015 h 2877015"/>
              <a:gd name="connsiteX8" fmla="*/ 0 w 12214303"/>
              <a:gd name="connsiteY8" fmla="*/ 2107581 h 2877015"/>
              <a:gd name="connsiteX0" fmla="*/ 0 w 12236605"/>
              <a:gd name="connsiteY0" fmla="*/ 2854712 h 3624146"/>
              <a:gd name="connsiteX1" fmla="*/ 4025590 w 12236605"/>
              <a:gd name="connsiteY1" fmla="*/ 2877983 h 3624146"/>
              <a:gd name="connsiteX2" fmla="*/ 5564459 w 12236605"/>
              <a:gd name="connsiteY2" fmla="*/ 2889135 h 3624146"/>
              <a:gd name="connsiteX3" fmla="*/ 7627435 w 12236605"/>
              <a:gd name="connsiteY3" fmla="*/ 1550988 h 3624146"/>
              <a:gd name="connsiteX4" fmla="*/ 9645805 w 12236605"/>
              <a:gd name="connsiteY4" fmla="*/ 2008188 h 3624146"/>
              <a:gd name="connsiteX5" fmla="*/ 12236605 w 12236605"/>
              <a:gd name="connsiteY5" fmla="*/ 0 h 3624146"/>
              <a:gd name="connsiteX6" fmla="*/ 12192000 w 12236605"/>
              <a:gd name="connsiteY6" fmla="*/ 3624146 h 3624146"/>
              <a:gd name="connsiteX7" fmla="*/ 0 w 12236605"/>
              <a:gd name="connsiteY7" fmla="*/ 3624146 h 3624146"/>
              <a:gd name="connsiteX8" fmla="*/ 0 w 12236605"/>
              <a:gd name="connsiteY8" fmla="*/ 2854712 h 3624146"/>
              <a:gd name="connsiteX0" fmla="*/ 0 w 12270059"/>
              <a:gd name="connsiteY0" fmla="*/ 2854712 h 3691053"/>
              <a:gd name="connsiteX1" fmla="*/ 4025590 w 12270059"/>
              <a:gd name="connsiteY1" fmla="*/ 2877983 h 3691053"/>
              <a:gd name="connsiteX2" fmla="*/ 5564459 w 12270059"/>
              <a:gd name="connsiteY2" fmla="*/ 2889135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2854712 h 3691053"/>
              <a:gd name="connsiteX0" fmla="*/ 0 w 12270059"/>
              <a:gd name="connsiteY0" fmla="*/ 2854712 h 3691053"/>
              <a:gd name="connsiteX1" fmla="*/ 3914078 w 12270059"/>
              <a:gd name="connsiteY1" fmla="*/ 3167915 h 3691053"/>
              <a:gd name="connsiteX2" fmla="*/ 5564459 w 12270059"/>
              <a:gd name="connsiteY2" fmla="*/ 2889135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2854712 h 3691053"/>
              <a:gd name="connsiteX0" fmla="*/ 0 w 12270059"/>
              <a:gd name="connsiteY0" fmla="*/ 2854712 h 3691053"/>
              <a:gd name="connsiteX1" fmla="*/ 3958683 w 12270059"/>
              <a:gd name="connsiteY1" fmla="*/ 2877983 h 3691053"/>
              <a:gd name="connsiteX2" fmla="*/ 5564459 w 12270059"/>
              <a:gd name="connsiteY2" fmla="*/ 2889135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2854712 h 3691053"/>
              <a:gd name="connsiteX0" fmla="*/ 0 w 12270059"/>
              <a:gd name="connsiteY0" fmla="*/ 2854712 h 3691053"/>
              <a:gd name="connsiteX1" fmla="*/ 3958683 w 12270059"/>
              <a:gd name="connsiteY1" fmla="*/ 2877983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2854712 h 3691053"/>
              <a:gd name="connsiteX0" fmla="*/ 0 w 12270059"/>
              <a:gd name="connsiteY0" fmla="*/ 2854712 h 3691053"/>
              <a:gd name="connsiteX1" fmla="*/ 3958683 w 12270059"/>
              <a:gd name="connsiteY1" fmla="*/ 2877983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2854712 h 3691053"/>
              <a:gd name="connsiteX0" fmla="*/ 0 w 12270059"/>
              <a:gd name="connsiteY0" fmla="*/ 3189249 h 3691053"/>
              <a:gd name="connsiteX1" fmla="*/ 3958683 w 12270059"/>
              <a:gd name="connsiteY1" fmla="*/ 2877983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3958683 w 12270059"/>
              <a:gd name="connsiteY1" fmla="*/ 2877983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627435 w 12270059"/>
              <a:gd name="connsiteY3" fmla="*/ 1550988 h 3691053"/>
              <a:gd name="connsiteX4" fmla="*/ 9813073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627435 w 12270059"/>
              <a:gd name="connsiteY3" fmla="*/ 1550988 h 3691053"/>
              <a:gd name="connsiteX4" fmla="*/ 9813073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627435 w 12270059"/>
              <a:gd name="connsiteY3" fmla="*/ 1550988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828157 w 12270059"/>
              <a:gd name="connsiteY3" fmla="*/ 1428324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828157 w 12270059"/>
              <a:gd name="connsiteY3" fmla="*/ 1428324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460488 w 12270059"/>
              <a:gd name="connsiteY1" fmla="*/ 2889134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460488 w 12270059"/>
              <a:gd name="connsiteY1" fmla="*/ 2889134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650059 w 12270059"/>
              <a:gd name="connsiteY1" fmla="*/ 2933738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11151 w 12270059"/>
              <a:gd name="connsiteY0" fmla="*/ 3334215 h 3691053"/>
              <a:gd name="connsiteX1" fmla="*/ 4650059 w 12270059"/>
              <a:gd name="connsiteY1" fmla="*/ 2933738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11151 w 12270059"/>
              <a:gd name="connsiteY8" fmla="*/ 3334215 h 3691053"/>
              <a:gd name="connsiteX0" fmla="*/ 11151 w 12270059"/>
              <a:gd name="connsiteY0" fmla="*/ 3334215 h 3691053"/>
              <a:gd name="connsiteX1" fmla="*/ 4650059 w 12270059"/>
              <a:gd name="connsiteY1" fmla="*/ 2933738 h 3691053"/>
              <a:gd name="connsiteX2" fmla="*/ 6055113 w 12270059"/>
              <a:gd name="connsiteY2" fmla="*/ 3112160 h 3691053"/>
              <a:gd name="connsiteX3" fmla="*/ 8073484 w 12270059"/>
              <a:gd name="connsiteY3" fmla="*/ 1261056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11151 w 12270059"/>
              <a:gd name="connsiteY8" fmla="*/ 3334215 h 3691053"/>
              <a:gd name="connsiteX0" fmla="*/ 11151 w 12270059"/>
              <a:gd name="connsiteY0" fmla="*/ 3334215 h 3691053"/>
              <a:gd name="connsiteX1" fmla="*/ 4650059 w 12270059"/>
              <a:gd name="connsiteY1" fmla="*/ 2933738 h 3691053"/>
              <a:gd name="connsiteX2" fmla="*/ 6055113 w 12270059"/>
              <a:gd name="connsiteY2" fmla="*/ 3112160 h 3691053"/>
              <a:gd name="connsiteX3" fmla="*/ 8073484 w 12270059"/>
              <a:gd name="connsiteY3" fmla="*/ 1261056 h 3691053"/>
              <a:gd name="connsiteX4" fmla="*/ 10002644 w 12270059"/>
              <a:gd name="connsiteY4" fmla="*/ 2130851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11151 w 12270059"/>
              <a:gd name="connsiteY8" fmla="*/ 3334215 h 3691053"/>
              <a:gd name="connsiteX0" fmla="*/ 11151 w 12270059"/>
              <a:gd name="connsiteY0" fmla="*/ 3334215 h 3691053"/>
              <a:gd name="connsiteX1" fmla="*/ 4650059 w 12270059"/>
              <a:gd name="connsiteY1" fmla="*/ 2933738 h 3691053"/>
              <a:gd name="connsiteX2" fmla="*/ 6055113 w 12270059"/>
              <a:gd name="connsiteY2" fmla="*/ 3112160 h 3691053"/>
              <a:gd name="connsiteX3" fmla="*/ 8073484 w 12270059"/>
              <a:gd name="connsiteY3" fmla="*/ 1261056 h 3691053"/>
              <a:gd name="connsiteX4" fmla="*/ 10002644 w 12270059"/>
              <a:gd name="connsiteY4" fmla="*/ 2130851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11151 w 12270059"/>
              <a:gd name="connsiteY8" fmla="*/ 3334215 h 3691053"/>
              <a:gd name="connsiteX0" fmla="*/ 11151 w 12314663"/>
              <a:gd name="connsiteY0" fmla="*/ 3356517 h 3713355"/>
              <a:gd name="connsiteX1" fmla="*/ 4650059 w 12314663"/>
              <a:gd name="connsiteY1" fmla="*/ 2956040 h 3713355"/>
              <a:gd name="connsiteX2" fmla="*/ 6055113 w 12314663"/>
              <a:gd name="connsiteY2" fmla="*/ 3134462 h 3713355"/>
              <a:gd name="connsiteX3" fmla="*/ 8073484 w 12314663"/>
              <a:gd name="connsiteY3" fmla="*/ 1283358 h 3713355"/>
              <a:gd name="connsiteX4" fmla="*/ 10002644 w 12314663"/>
              <a:gd name="connsiteY4" fmla="*/ 2153153 h 3713355"/>
              <a:gd name="connsiteX5" fmla="*/ 12314663 w 12314663"/>
              <a:gd name="connsiteY5" fmla="*/ 0 h 3713355"/>
              <a:gd name="connsiteX6" fmla="*/ 12270059 w 12314663"/>
              <a:gd name="connsiteY6" fmla="*/ 3713355 h 3713355"/>
              <a:gd name="connsiteX7" fmla="*/ 0 w 12314663"/>
              <a:gd name="connsiteY7" fmla="*/ 3646448 h 3713355"/>
              <a:gd name="connsiteX8" fmla="*/ 11151 w 12314663"/>
              <a:gd name="connsiteY8" fmla="*/ 3356517 h 3713355"/>
              <a:gd name="connsiteX0" fmla="*/ 11151 w 12336967"/>
              <a:gd name="connsiteY0" fmla="*/ 3356517 h 3780263"/>
              <a:gd name="connsiteX1" fmla="*/ 4650059 w 12336967"/>
              <a:gd name="connsiteY1" fmla="*/ 2956040 h 3780263"/>
              <a:gd name="connsiteX2" fmla="*/ 6055113 w 12336967"/>
              <a:gd name="connsiteY2" fmla="*/ 3134462 h 3780263"/>
              <a:gd name="connsiteX3" fmla="*/ 8073484 w 12336967"/>
              <a:gd name="connsiteY3" fmla="*/ 1283358 h 3780263"/>
              <a:gd name="connsiteX4" fmla="*/ 10002644 w 12336967"/>
              <a:gd name="connsiteY4" fmla="*/ 2153153 h 3780263"/>
              <a:gd name="connsiteX5" fmla="*/ 12314663 w 12336967"/>
              <a:gd name="connsiteY5" fmla="*/ 0 h 3780263"/>
              <a:gd name="connsiteX6" fmla="*/ 12336967 w 12336967"/>
              <a:gd name="connsiteY6" fmla="*/ 3780263 h 3780263"/>
              <a:gd name="connsiteX7" fmla="*/ 0 w 12336967"/>
              <a:gd name="connsiteY7" fmla="*/ 3646448 h 3780263"/>
              <a:gd name="connsiteX8" fmla="*/ 11151 w 12336967"/>
              <a:gd name="connsiteY8" fmla="*/ 3356517 h 3780263"/>
              <a:gd name="connsiteX0" fmla="*/ 33453 w 12359269"/>
              <a:gd name="connsiteY0" fmla="*/ 3356517 h 3802565"/>
              <a:gd name="connsiteX1" fmla="*/ 4672361 w 12359269"/>
              <a:gd name="connsiteY1" fmla="*/ 2956040 h 3802565"/>
              <a:gd name="connsiteX2" fmla="*/ 6077415 w 12359269"/>
              <a:gd name="connsiteY2" fmla="*/ 3134462 h 3802565"/>
              <a:gd name="connsiteX3" fmla="*/ 8095786 w 12359269"/>
              <a:gd name="connsiteY3" fmla="*/ 1283358 h 3802565"/>
              <a:gd name="connsiteX4" fmla="*/ 10024946 w 12359269"/>
              <a:gd name="connsiteY4" fmla="*/ 2153153 h 3802565"/>
              <a:gd name="connsiteX5" fmla="*/ 12336965 w 12359269"/>
              <a:gd name="connsiteY5" fmla="*/ 0 h 3802565"/>
              <a:gd name="connsiteX6" fmla="*/ 12359269 w 12359269"/>
              <a:gd name="connsiteY6" fmla="*/ 3780263 h 3802565"/>
              <a:gd name="connsiteX7" fmla="*/ 0 w 12359269"/>
              <a:gd name="connsiteY7" fmla="*/ 3802565 h 3802565"/>
              <a:gd name="connsiteX8" fmla="*/ 33453 w 12359269"/>
              <a:gd name="connsiteY8" fmla="*/ 3356517 h 3802565"/>
              <a:gd name="connsiteX0" fmla="*/ 0 w 12381572"/>
              <a:gd name="connsiteY0" fmla="*/ 3323063 h 3802565"/>
              <a:gd name="connsiteX1" fmla="*/ 4694664 w 12381572"/>
              <a:gd name="connsiteY1" fmla="*/ 2956040 h 3802565"/>
              <a:gd name="connsiteX2" fmla="*/ 6099718 w 12381572"/>
              <a:gd name="connsiteY2" fmla="*/ 3134462 h 3802565"/>
              <a:gd name="connsiteX3" fmla="*/ 8118089 w 12381572"/>
              <a:gd name="connsiteY3" fmla="*/ 1283358 h 3802565"/>
              <a:gd name="connsiteX4" fmla="*/ 10047249 w 12381572"/>
              <a:gd name="connsiteY4" fmla="*/ 2153153 h 3802565"/>
              <a:gd name="connsiteX5" fmla="*/ 12359268 w 12381572"/>
              <a:gd name="connsiteY5" fmla="*/ 0 h 3802565"/>
              <a:gd name="connsiteX6" fmla="*/ 12381572 w 12381572"/>
              <a:gd name="connsiteY6" fmla="*/ 3780263 h 3802565"/>
              <a:gd name="connsiteX7" fmla="*/ 22303 w 12381572"/>
              <a:gd name="connsiteY7" fmla="*/ 3802565 h 3802565"/>
              <a:gd name="connsiteX8" fmla="*/ 0 w 12381572"/>
              <a:gd name="connsiteY8" fmla="*/ 3323063 h 3802565"/>
              <a:gd name="connsiteX0" fmla="*/ 0 w 12381572"/>
              <a:gd name="connsiteY0" fmla="*/ 3323063 h 3802565"/>
              <a:gd name="connsiteX1" fmla="*/ 3256156 w 12381572"/>
              <a:gd name="connsiteY1" fmla="*/ 3089857 h 3802565"/>
              <a:gd name="connsiteX2" fmla="*/ 4694664 w 12381572"/>
              <a:gd name="connsiteY2" fmla="*/ 2956040 h 3802565"/>
              <a:gd name="connsiteX3" fmla="*/ 6099718 w 12381572"/>
              <a:gd name="connsiteY3" fmla="*/ 3134462 h 3802565"/>
              <a:gd name="connsiteX4" fmla="*/ 8118089 w 12381572"/>
              <a:gd name="connsiteY4" fmla="*/ 1283358 h 3802565"/>
              <a:gd name="connsiteX5" fmla="*/ 10047249 w 12381572"/>
              <a:gd name="connsiteY5" fmla="*/ 2153153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3189249 w 12381572"/>
              <a:gd name="connsiteY1" fmla="*/ 3502452 h 3802565"/>
              <a:gd name="connsiteX2" fmla="*/ 4694664 w 12381572"/>
              <a:gd name="connsiteY2" fmla="*/ 2956040 h 3802565"/>
              <a:gd name="connsiteX3" fmla="*/ 6099718 w 12381572"/>
              <a:gd name="connsiteY3" fmla="*/ 3134462 h 3802565"/>
              <a:gd name="connsiteX4" fmla="*/ 8118089 w 12381572"/>
              <a:gd name="connsiteY4" fmla="*/ 1283358 h 3802565"/>
              <a:gd name="connsiteX5" fmla="*/ 10047249 w 12381572"/>
              <a:gd name="connsiteY5" fmla="*/ 2153153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3189249 w 12381572"/>
              <a:gd name="connsiteY1" fmla="*/ 3502452 h 3802565"/>
              <a:gd name="connsiteX2" fmla="*/ 4605454 w 12381572"/>
              <a:gd name="connsiteY2" fmla="*/ 2967191 h 3802565"/>
              <a:gd name="connsiteX3" fmla="*/ 6099718 w 12381572"/>
              <a:gd name="connsiteY3" fmla="*/ 3134462 h 3802565"/>
              <a:gd name="connsiteX4" fmla="*/ 8118089 w 12381572"/>
              <a:gd name="connsiteY4" fmla="*/ 1283358 h 3802565"/>
              <a:gd name="connsiteX5" fmla="*/ 10047249 w 12381572"/>
              <a:gd name="connsiteY5" fmla="*/ 2153153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3189249 w 12381572"/>
              <a:gd name="connsiteY1" fmla="*/ 3502452 h 3802565"/>
              <a:gd name="connsiteX2" fmla="*/ 4605454 w 12381572"/>
              <a:gd name="connsiteY2" fmla="*/ 2967191 h 3802565"/>
              <a:gd name="connsiteX3" fmla="*/ 6300440 w 12381572"/>
              <a:gd name="connsiteY3" fmla="*/ 3179067 h 3802565"/>
              <a:gd name="connsiteX4" fmla="*/ 8118089 w 12381572"/>
              <a:gd name="connsiteY4" fmla="*/ 1283358 h 3802565"/>
              <a:gd name="connsiteX5" fmla="*/ 10047249 w 12381572"/>
              <a:gd name="connsiteY5" fmla="*/ 2153153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3189249 w 12381572"/>
              <a:gd name="connsiteY1" fmla="*/ 3502452 h 3802565"/>
              <a:gd name="connsiteX2" fmla="*/ 4605454 w 12381572"/>
              <a:gd name="connsiteY2" fmla="*/ 2967191 h 3802565"/>
              <a:gd name="connsiteX3" fmla="*/ 6300440 w 12381572"/>
              <a:gd name="connsiteY3" fmla="*/ 3179067 h 3802565"/>
              <a:gd name="connsiteX4" fmla="*/ 8118089 w 12381572"/>
              <a:gd name="connsiteY4" fmla="*/ 1283358 h 3802565"/>
              <a:gd name="connsiteX5" fmla="*/ 10047249 w 12381572"/>
              <a:gd name="connsiteY5" fmla="*/ 2153153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3189249 w 12381572"/>
              <a:gd name="connsiteY1" fmla="*/ 3502452 h 3802565"/>
              <a:gd name="connsiteX2" fmla="*/ 4605454 w 12381572"/>
              <a:gd name="connsiteY2" fmla="*/ 2967191 h 3802565"/>
              <a:gd name="connsiteX3" fmla="*/ 6311591 w 12381572"/>
              <a:gd name="connsiteY3" fmla="*/ 3123311 h 3802565"/>
              <a:gd name="connsiteX4" fmla="*/ 8118089 w 12381572"/>
              <a:gd name="connsiteY4" fmla="*/ 1283358 h 3802565"/>
              <a:gd name="connsiteX5" fmla="*/ 10047249 w 12381572"/>
              <a:gd name="connsiteY5" fmla="*/ 2153153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3189249 w 12381572"/>
              <a:gd name="connsiteY1" fmla="*/ 3502452 h 3802565"/>
              <a:gd name="connsiteX2" fmla="*/ 4605454 w 12381572"/>
              <a:gd name="connsiteY2" fmla="*/ 2967191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047249 w 12381572"/>
              <a:gd name="connsiteY5" fmla="*/ 2153153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2999678 w 12381572"/>
              <a:gd name="connsiteY1" fmla="*/ 3513603 h 3802565"/>
              <a:gd name="connsiteX2" fmla="*/ 4605454 w 12381572"/>
              <a:gd name="connsiteY2" fmla="*/ 2967191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047249 w 12381572"/>
              <a:gd name="connsiteY5" fmla="*/ 2153153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2999678 w 12381572"/>
              <a:gd name="connsiteY1" fmla="*/ 3513603 h 3802565"/>
              <a:gd name="connsiteX2" fmla="*/ 4605454 w 12381572"/>
              <a:gd name="connsiteY2" fmla="*/ 2967191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047249 w 12381572"/>
              <a:gd name="connsiteY5" fmla="*/ 2153153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2698595 w 12381572"/>
              <a:gd name="connsiteY1" fmla="*/ 3502452 h 3802565"/>
              <a:gd name="connsiteX2" fmla="*/ 4605454 w 12381572"/>
              <a:gd name="connsiteY2" fmla="*/ 2967191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047249 w 12381572"/>
              <a:gd name="connsiteY5" fmla="*/ 2153153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2698595 w 12381572"/>
              <a:gd name="connsiteY1" fmla="*/ 3502452 h 3802565"/>
              <a:gd name="connsiteX2" fmla="*/ 4427034 w 12381572"/>
              <a:gd name="connsiteY2" fmla="*/ 3000645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047249 w 12381572"/>
              <a:gd name="connsiteY5" fmla="*/ 2153153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2698595 w 12381572"/>
              <a:gd name="connsiteY1" fmla="*/ 3502452 h 3802565"/>
              <a:gd name="connsiteX2" fmla="*/ 4427034 w 12381572"/>
              <a:gd name="connsiteY2" fmla="*/ 3000645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203366 w 12381572"/>
              <a:gd name="connsiteY5" fmla="*/ 2164304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2698595 w 12381572"/>
              <a:gd name="connsiteY1" fmla="*/ 3502452 h 3802565"/>
              <a:gd name="connsiteX2" fmla="*/ 4427034 w 12381572"/>
              <a:gd name="connsiteY2" fmla="*/ 3000645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203366 w 12381572"/>
              <a:gd name="connsiteY5" fmla="*/ 2164304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2698595 w 12381572"/>
              <a:gd name="connsiteY1" fmla="*/ 3502452 h 3802565"/>
              <a:gd name="connsiteX2" fmla="*/ 4427034 w 12381572"/>
              <a:gd name="connsiteY2" fmla="*/ 3000645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203366 w 12381572"/>
              <a:gd name="connsiteY5" fmla="*/ 2164304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2698595 w 12381572"/>
              <a:gd name="connsiteY1" fmla="*/ 3502452 h 3802565"/>
              <a:gd name="connsiteX2" fmla="*/ 4427034 w 12381572"/>
              <a:gd name="connsiteY2" fmla="*/ 3000645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203366 w 12381572"/>
              <a:gd name="connsiteY5" fmla="*/ 2164304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2419815 w 12381572"/>
              <a:gd name="connsiteY1" fmla="*/ 3513603 h 3802565"/>
              <a:gd name="connsiteX2" fmla="*/ 4427034 w 12381572"/>
              <a:gd name="connsiteY2" fmla="*/ 3000645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203366 w 12381572"/>
              <a:gd name="connsiteY5" fmla="*/ 2164304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2419815 w 12381572"/>
              <a:gd name="connsiteY1" fmla="*/ 3513603 h 3802565"/>
              <a:gd name="connsiteX2" fmla="*/ 4348976 w 12381572"/>
              <a:gd name="connsiteY2" fmla="*/ 3011796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203366 w 12381572"/>
              <a:gd name="connsiteY5" fmla="*/ 2164304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133493 h 3802565"/>
              <a:gd name="connsiteX1" fmla="*/ 2419815 w 12381572"/>
              <a:gd name="connsiteY1" fmla="*/ 3513603 h 3802565"/>
              <a:gd name="connsiteX2" fmla="*/ 4348976 w 12381572"/>
              <a:gd name="connsiteY2" fmla="*/ 3011796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203366 w 12381572"/>
              <a:gd name="connsiteY5" fmla="*/ 2164304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133493 h 3802565"/>
              <a:gd name="connsiteX0" fmla="*/ 0 w 12381572"/>
              <a:gd name="connsiteY0" fmla="*/ 3133493 h 3802565"/>
              <a:gd name="connsiteX1" fmla="*/ 2419815 w 12381572"/>
              <a:gd name="connsiteY1" fmla="*/ 3513603 h 3802565"/>
              <a:gd name="connsiteX2" fmla="*/ 4348976 w 12381572"/>
              <a:gd name="connsiteY2" fmla="*/ 3011796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203366 w 12381572"/>
              <a:gd name="connsiteY5" fmla="*/ 2164304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133493 h 3802565"/>
              <a:gd name="connsiteX0" fmla="*/ 0 w 12381572"/>
              <a:gd name="connsiteY0" fmla="*/ 3133493 h 3802565"/>
              <a:gd name="connsiteX1" fmla="*/ 2308303 w 12381572"/>
              <a:gd name="connsiteY1" fmla="*/ 3502452 h 3802565"/>
              <a:gd name="connsiteX2" fmla="*/ 4348976 w 12381572"/>
              <a:gd name="connsiteY2" fmla="*/ 3011796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203366 w 12381572"/>
              <a:gd name="connsiteY5" fmla="*/ 2164304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133493 h 3802565"/>
              <a:gd name="connsiteX0" fmla="*/ 0 w 12381572"/>
              <a:gd name="connsiteY0" fmla="*/ 3133493 h 3802565"/>
              <a:gd name="connsiteX1" fmla="*/ 2308303 w 12381572"/>
              <a:gd name="connsiteY1" fmla="*/ 3502452 h 3802565"/>
              <a:gd name="connsiteX2" fmla="*/ 4215162 w 12381572"/>
              <a:gd name="connsiteY2" fmla="*/ 3022947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203366 w 12381572"/>
              <a:gd name="connsiteY5" fmla="*/ 2164304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133493 h 38025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381572" h="3802565">
                <a:moveTo>
                  <a:pt x="0" y="3133493"/>
                </a:moveTo>
                <a:cubicBezTo>
                  <a:pt x="847493" y="3139230"/>
                  <a:pt x="1605776" y="3520876"/>
                  <a:pt x="2308303" y="3502452"/>
                </a:cubicBezTo>
                <a:cubicBezTo>
                  <a:pt x="3010830" y="3484028"/>
                  <a:pt x="3547947" y="3086137"/>
                  <a:pt x="4215162" y="3022947"/>
                </a:cubicBezTo>
                <a:cubicBezTo>
                  <a:pt x="4882377" y="2959757"/>
                  <a:pt x="5657386" y="3403950"/>
                  <a:pt x="6311591" y="3123311"/>
                </a:cubicBezTo>
                <a:cubicBezTo>
                  <a:pt x="6965796" y="2842672"/>
                  <a:pt x="7491762" y="1498949"/>
                  <a:pt x="8140391" y="1339114"/>
                </a:cubicBezTo>
                <a:cubicBezTo>
                  <a:pt x="8789020" y="1179279"/>
                  <a:pt x="9433313" y="2342885"/>
                  <a:pt x="10203366" y="2164304"/>
                </a:cubicBezTo>
                <a:cubicBezTo>
                  <a:pt x="10973419" y="1985723"/>
                  <a:pt x="11656121" y="87513"/>
                  <a:pt x="12359268" y="0"/>
                </a:cubicBezTo>
                <a:lnTo>
                  <a:pt x="12381572" y="3780263"/>
                </a:lnTo>
                <a:lnTo>
                  <a:pt x="22303" y="3802565"/>
                </a:lnTo>
                <a:lnTo>
                  <a:pt x="0" y="3133493"/>
                </a:lnTo>
                <a:close/>
              </a:path>
            </a:pathLst>
          </a:custGeom>
          <a:solidFill>
            <a:schemeClr val="accent2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089103" y="3694287"/>
            <a:ext cx="9144000" cy="900210"/>
          </a:xfrm>
        </p:spPr>
        <p:txBody>
          <a:bodyPr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1089103" y="4594497"/>
            <a:ext cx="9144000" cy="1655762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="" xmlns:a16="http://schemas.microsoft.com/office/drawing/2014/main" id="{025FF49F-31FA-754A-9EA1-75A1D515FE8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37853" y="471870"/>
            <a:ext cx="2019091" cy="382153"/>
          </a:xfrm>
          <a:custGeom>
            <a:avLst/>
            <a:gdLst>
              <a:gd name="T0" fmla="*/ 529 w 8875"/>
              <a:gd name="T1" fmla="*/ 1050 h 1678"/>
              <a:gd name="T2" fmla="*/ 870 w 8875"/>
              <a:gd name="T3" fmla="*/ 1677 h 1678"/>
              <a:gd name="T4" fmla="*/ 529 w 8875"/>
              <a:gd name="T5" fmla="*/ 940 h 1678"/>
              <a:gd name="T6" fmla="*/ 1473 w 8875"/>
              <a:gd name="T7" fmla="*/ 176 h 1678"/>
              <a:gd name="T8" fmla="*/ 72 w 8875"/>
              <a:gd name="T9" fmla="*/ 457 h 1678"/>
              <a:gd name="T10" fmla="*/ 1309 w 8875"/>
              <a:gd name="T11" fmla="*/ 51 h 1678"/>
              <a:gd name="T12" fmla="*/ 227 w 8875"/>
              <a:gd name="T13" fmla="*/ 217 h 1678"/>
              <a:gd name="T14" fmla="*/ 2928 w 8875"/>
              <a:gd name="T15" fmla="*/ 1065 h 1678"/>
              <a:gd name="T16" fmla="*/ 2901 w 8875"/>
              <a:gd name="T17" fmla="*/ 253 h 1678"/>
              <a:gd name="T18" fmla="*/ 2644 w 8875"/>
              <a:gd name="T19" fmla="*/ 271 h 1678"/>
              <a:gd name="T20" fmla="*/ 3319 w 8875"/>
              <a:gd name="T21" fmla="*/ 284 h 1678"/>
              <a:gd name="T22" fmla="*/ 3728 w 8875"/>
              <a:gd name="T23" fmla="*/ 830 h 1678"/>
              <a:gd name="T24" fmla="*/ 3061 w 8875"/>
              <a:gd name="T25" fmla="*/ 1032 h 1678"/>
              <a:gd name="T26" fmla="*/ 3682 w 8875"/>
              <a:gd name="T27" fmla="*/ 227 h 1678"/>
              <a:gd name="T28" fmla="*/ 3443 w 8875"/>
              <a:gd name="T29" fmla="*/ 284 h 1678"/>
              <a:gd name="T30" fmla="*/ 3333 w 8875"/>
              <a:gd name="T31" fmla="*/ 609 h 1678"/>
              <a:gd name="T32" fmla="*/ 3361 w 8875"/>
              <a:gd name="T33" fmla="*/ 1076 h 1678"/>
              <a:gd name="T34" fmla="*/ 4195 w 8875"/>
              <a:gd name="T35" fmla="*/ 606 h 1678"/>
              <a:gd name="T36" fmla="*/ 4075 w 8875"/>
              <a:gd name="T37" fmla="*/ 666 h 1678"/>
              <a:gd name="T38" fmla="*/ 4416 w 8875"/>
              <a:gd name="T39" fmla="*/ 956 h 1678"/>
              <a:gd name="T40" fmla="*/ 3830 w 8875"/>
              <a:gd name="T41" fmla="*/ 1133 h 1678"/>
              <a:gd name="T42" fmla="*/ 3830 w 8875"/>
              <a:gd name="T43" fmla="*/ 255 h 1678"/>
              <a:gd name="T44" fmla="*/ 4411 w 8875"/>
              <a:gd name="T45" fmla="*/ 423 h 1678"/>
              <a:gd name="T46" fmla="*/ 4596 w 8875"/>
              <a:gd name="T47" fmla="*/ 1133 h 1678"/>
              <a:gd name="T48" fmla="*/ 4596 w 8875"/>
              <a:gd name="T49" fmla="*/ 255 h 1678"/>
              <a:gd name="T50" fmla="*/ 4932 w 8875"/>
              <a:gd name="T51" fmla="*/ 774 h 1678"/>
              <a:gd name="T52" fmla="*/ 4893 w 8875"/>
              <a:gd name="T53" fmla="*/ 1133 h 1678"/>
              <a:gd name="T54" fmla="*/ 4919 w 8875"/>
              <a:gd name="T55" fmla="*/ 284 h 1678"/>
              <a:gd name="T56" fmla="*/ 4933 w 8875"/>
              <a:gd name="T57" fmla="*/ 718 h 1678"/>
              <a:gd name="T58" fmla="*/ 5661 w 8875"/>
              <a:gd name="T59" fmla="*/ 552 h 1678"/>
              <a:gd name="T60" fmla="*/ 5365 w 8875"/>
              <a:gd name="T61" fmla="*/ 1104 h 1678"/>
              <a:gd name="T62" fmla="*/ 5365 w 8875"/>
              <a:gd name="T63" fmla="*/ 227 h 1678"/>
              <a:gd name="T64" fmla="*/ 5977 w 8875"/>
              <a:gd name="T65" fmla="*/ 386 h 1678"/>
              <a:gd name="T66" fmla="*/ 5882 w 8875"/>
              <a:gd name="T67" fmla="*/ 839 h 1678"/>
              <a:gd name="T68" fmla="*/ 5691 w 8875"/>
              <a:gd name="T69" fmla="*/ 1076 h 1678"/>
              <a:gd name="T70" fmla="*/ 6643 w 8875"/>
              <a:gd name="T71" fmla="*/ 805 h 1678"/>
              <a:gd name="T72" fmla="*/ 6110 w 8875"/>
              <a:gd name="T73" fmla="*/ 1133 h 1678"/>
              <a:gd name="T74" fmla="*/ 6394 w 8875"/>
              <a:gd name="T75" fmla="*/ 255 h 1678"/>
              <a:gd name="T76" fmla="*/ 6876 w 8875"/>
              <a:gd name="T77" fmla="*/ 904 h 1678"/>
              <a:gd name="T78" fmla="*/ 6503 w 8875"/>
              <a:gd name="T79" fmla="*/ 380 h 1678"/>
              <a:gd name="T80" fmla="*/ 7288 w 8875"/>
              <a:gd name="T81" fmla="*/ 666 h 1678"/>
              <a:gd name="T82" fmla="*/ 7042 w 8875"/>
              <a:gd name="T83" fmla="*/ 1133 h 1678"/>
              <a:gd name="T84" fmla="*/ 7042 w 8875"/>
              <a:gd name="T85" fmla="*/ 255 h 1678"/>
              <a:gd name="T86" fmla="*/ 7288 w 8875"/>
              <a:gd name="T87" fmla="*/ 328 h 1678"/>
              <a:gd name="T88" fmla="*/ 7584 w 8875"/>
              <a:gd name="T89" fmla="*/ 255 h 1678"/>
              <a:gd name="T90" fmla="*/ 7830 w 8875"/>
              <a:gd name="T91" fmla="*/ 328 h 1678"/>
              <a:gd name="T92" fmla="*/ 7584 w 8875"/>
              <a:gd name="T93" fmla="*/ 1133 h 1678"/>
              <a:gd name="T94" fmla="*/ 8076 w 8875"/>
              <a:gd name="T95" fmla="*/ 328 h 1678"/>
              <a:gd name="T96" fmla="*/ 8322 w 8875"/>
              <a:gd name="T97" fmla="*/ 255 h 1678"/>
              <a:gd name="T98" fmla="*/ 8322 w 8875"/>
              <a:gd name="T99" fmla="*/ 1133 h 1678"/>
              <a:gd name="T100" fmla="*/ 8076 w 8875"/>
              <a:gd name="T101" fmla="*/ 328 h 1678"/>
              <a:gd name="T102" fmla="*/ 8422 w 8875"/>
              <a:gd name="T103" fmla="*/ 864 h 1678"/>
              <a:gd name="T104" fmla="*/ 8803 w 8875"/>
              <a:gd name="T105" fmla="*/ 227 h 1678"/>
              <a:gd name="T106" fmla="*/ 8556 w 8875"/>
              <a:gd name="T107" fmla="*/ 736 h 1678"/>
              <a:gd name="T108" fmla="*/ 2262 w 8875"/>
              <a:gd name="T109" fmla="*/ 1359 h 1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8875" h="1678">
                <a:moveTo>
                  <a:pt x="870" y="1677"/>
                </a:moveTo>
                <a:cubicBezTo>
                  <a:pt x="389" y="1677"/>
                  <a:pt x="0" y="1286"/>
                  <a:pt x="0" y="804"/>
                </a:cubicBezTo>
                <a:cubicBezTo>
                  <a:pt x="0" y="785"/>
                  <a:pt x="1" y="765"/>
                  <a:pt x="2" y="746"/>
                </a:cubicBezTo>
                <a:lnTo>
                  <a:pt x="529" y="1050"/>
                </a:lnTo>
                <a:lnTo>
                  <a:pt x="1644" y="406"/>
                </a:lnTo>
                <a:cubicBezTo>
                  <a:pt x="1710" y="535"/>
                  <a:pt x="1740" y="658"/>
                  <a:pt x="1740" y="803"/>
                </a:cubicBezTo>
                <a:cubicBezTo>
                  <a:pt x="1740" y="804"/>
                  <a:pt x="1740" y="804"/>
                  <a:pt x="1740" y="804"/>
                </a:cubicBezTo>
                <a:cubicBezTo>
                  <a:pt x="1740" y="1286"/>
                  <a:pt x="1350" y="1677"/>
                  <a:pt x="870" y="1677"/>
                </a:cubicBezTo>
                <a:close/>
                <a:moveTo>
                  <a:pt x="529" y="830"/>
                </a:moveTo>
                <a:lnTo>
                  <a:pt x="38" y="548"/>
                </a:lnTo>
                <a:cubicBezTo>
                  <a:pt x="28" y="581"/>
                  <a:pt x="21" y="610"/>
                  <a:pt x="15" y="644"/>
                </a:cubicBezTo>
                <a:lnTo>
                  <a:pt x="529" y="940"/>
                </a:lnTo>
                <a:lnTo>
                  <a:pt x="1596" y="324"/>
                </a:lnTo>
                <a:cubicBezTo>
                  <a:pt x="1578" y="296"/>
                  <a:pt x="1561" y="273"/>
                  <a:pt x="1540" y="247"/>
                </a:cubicBezTo>
                <a:lnTo>
                  <a:pt x="529" y="830"/>
                </a:lnTo>
                <a:close/>
                <a:moveTo>
                  <a:pt x="1473" y="176"/>
                </a:moveTo>
                <a:cubicBezTo>
                  <a:pt x="1448" y="151"/>
                  <a:pt x="1425" y="132"/>
                  <a:pt x="1397" y="110"/>
                </a:cubicBezTo>
                <a:lnTo>
                  <a:pt x="529" y="611"/>
                </a:lnTo>
                <a:lnTo>
                  <a:pt x="114" y="372"/>
                </a:lnTo>
                <a:cubicBezTo>
                  <a:pt x="98" y="401"/>
                  <a:pt x="85" y="426"/>
                  <a:pt x="72" y="457"/>
                </a:cubicBezTo>
                <a:lnTo>
                  <a:pt x="529" y="721"/>
                </a:lnTo>
                <a:lnTo>
                  <a:pt x="1473" y="176"/>
                </a:lnTo>
                <a:close/>
                <a:moveTo>
                  <a:pt x="529" y="501"/>
                </a:moveTo>
                <a:lnTo>
                  <a:pt x="1309" y="51"/>
                </a:lnTo>
                <a:cubicBezTo>
                  <a:pt x="1308" y="50"/>
                  <a:pt x="1306" y="50"/>
                  <a:pt x="1305" y="49"/>
                </a:cubicBezTo>
                <a:cubicBezTo>
                  <a:pt x="1272" y="29"/>
                  <a:pt x="1243" y="15"/>
                  <a:pt x="1207" y="0"/>
                </a:cubicBezTo>
                <a:lnTo>
                  <a:pt x="529" y="391"/>
                </a:lnTo>
                <a:lnTo>
                  <a:pt x="227" y="217"/>
                </a:lnTo>
                <a:cubicBezTo>
                  <a:pt x="204" y="242"/>
                  <a:pt x="186" y="264"/>
                  <a:pt x="166" y="292"/>
                </a:cubicBezTo>
                <a:lnTo>
                  <a:pt x="529" y="501"/>
                </a:lnTo>
                <a:close/>
                <a:moveTo>
                  <a:pt x="2899" y="1011"/>
                </a:moveTo>
                <a:lnTo>
                  <a:pt x="2928" y="1065"/>
                </a:lnTo>
                <a:cubicBezTo>
                  <a:pt x="2845" y="1119"/>
                  <a:pt x="2734" y="1148"/>
                  <a:pt x="2619" y="1148"/>
                </a:cubicBezTo>
                <a:cubicBezTo>
                  <a:pt x="2348" y="1148"/>
                  <a:pt x="2192" y="1003"/>
                  <a:pt x="2192" y="691"/>
                </a:cubicBezTo>
                <a:cubicBezTo>
                  <a:pt x="2192" y="392"/>
                  <a:pt x="2317" y="211"/>
                  <a:pt x="2637" y="211"/>
                </a:cubicBezTo>
                <a:cubicBezTo>
                  <a:pt x="2779" y="211"/>
                  <a:pt x="2875" y="242"/>
                  <a:pt x="2901" y="253"/>
                </a:cubicBezTo>
                <a:cubicBezTo>
                  <a:pt x="2898" y="313"/>
                  <a:pt x="2898" y="381"/>
                  <a:pt x="2901" y="442"/>
                </a:cubicBezTo>
                <a:lnTo>
                  <a:pt x="2842" y="442"/>
                </a:lnTo>
                <a:lnTo>
                  <a:pt x="2827" y="385"/>
                </a:lnTo>
                <a:cubicBezTo>
                  <a:pt x="2806" y="317"/>
                  <a:pt x="2766" y="271"/>
                  <a:pt x="2644" y="271"/>
                </a:cubicBezTo>
                <a:cubicBezTo>
                  <a:pt x="2451" y="271"/>
                  <a:pt x="2402" y="413"/>
                  <a:pt x="2402" y="658"/>
                </a:cubicBezTo>
                <a:cubicBezTo>
                  <a:pt x="2402" y="891"/>
                  <a:pt x="2450" y="1064"/>
                  <a:pt x="2673" y="1064"/>
                </a:cubicBezTo>
                <a:cubicBezTo>
                  <a:pt x="2779" y="1064"/>
                  <a:pt x="2845" y="1038"/>
                  <a:pt x="2899" y="1011"/>
                </a:cubicBezTo>
                <a:close/>
                <a:moveTo>
                  <a:pt x="3319" y="284"/>
                </a:moveTo>
                <a:cubicBezTo>
                  <a:pt x="3262" y="284"/>
                  <a:pt x="3254" y="298"/>
                  <a:pt x="3254" y="337"/>
                </a:cubicBezTo>
                <a:lnTo>
                  <a:pt x="3254" y="552"/>
                </a:lnTo>
                <a:lnTo>
                  <a:pt x="3304" y="552"/>
                </a:lnTo>
                <a:cubicBezTo>
                  <a:pt x="3552" y="552"/>
                  <a:pt x="3728" y="580"/>
                  <a:pt x="3728" y="830"/>
                </a:cubicBezTo>
                <a:cubicBezTo>
                  <a:pt x="3728" y="1073"/>
                  <a:pt x="3591" y="1133"/>
                  <a:pt x="3370" y="1133"/>
                </a:cubicBezTo>
                <a:lnTo>
                  <a:pt x="3009" y="1133"/>
                </a:lnTo>
                <a:lnTo>
                  <a:pt x="3009" y="1104"/>
                </a:lnTo>
                <a:cubicBezTo>
                  <a:pt x="3054" y="1094"/>
                  <a:pt x="3061" y="1081"/>
                  <a:pt x="3061" y="1032"/>
                </a:cubicBezTo>
                <a:lnTo>
                  <a:pt x="3061" y="328"/>
                </a:lnTo>
                <a:cubicBezTo>
                  <a:pt x="3061" y="278"/>
                  <a:pt x="3054" y="266"/>
                  <a:pt x="3009" y="255"/>
                </a:cubicBezTo>
                <a:lnTo>
                  <a:pt x="3009" y="227"/>
                </a:lnTo>
                <a:lnTo>
                  <a:pt x="3682" y="227"/>
                </a:lnTo>
                <a:cubicBezTo>
                  <a:pt x="3679" y="293"/>
                  <a:pt x="3679" y="358"/>
                  <a:pt x="3682" y="423"/>
                </a:cubicBezTo>
                <a:lnTo>
                  <a:pt x="3633" y="423"/>
                </a:lnTo>
                <a:lnTo>
                  <a:pt x="3621" y="386"/>
                </a:lnTo>
                <a:cubicBezTo>
                  <a:pt x="3593" y="293"/>
                  <a:pt x="3560" y="284"/>
                  <a:pt x="3443" y="284"/>
                </a:cubicBezTo>
                <a:lnTo>
                  <a:pt x="3319" y="284"/>
                </a:lnTo>
                <a:close/>
                <a:moveTo>
                  <a:pt x="3361" y="1076"/>
                </a:moveTo>
                <a:cubicBezTo>
                  <a:pt x="3479" y="1076"/>
                  <a:pt x="3525" y="997"/>
                  <a:pt x="3525" y="839"/>
                </a:cubicBezTo>
                <a:cubicBezTo>
                  <a:pt x="3525" y="691"/>
                  <a:pt x="3485" y="609"/>
                  <a:pt x="3333" y="609"/>
                </a:cubicBezTo>
                <a:lnTo>
                  <a:pt x="3254" y="609"/>
                </a:lnTo>
                <a:lnTo>
                  <a:pt x="3254" y="997"/>
                </a:lnTo>
                <a:cubicBezTo>
                  <a:pt x="3254" y="1055"/>
                  <a:pt x="3270" y="1076"/>
                  <a:pt x="3334" y="1076"/>
                </a:cubicBezTo>
                <a:lnTo>
                  <a:pt x="3361" y="1076"/>
                </a:lnTo>
                <a:close/>
                <a:moveTo>
                  <a:pt x="4120" y="284"/>
                </a:moveTo>
                <a:cubicBezTo>
                  <a:pt x="4082" y="284"/>
                  <a:pt x="4075" y="294"/>
                  <a:pt x="4075" y="325"/>
                </a:cubicBezTo>
                <a:lnTo>
                  <a:pt x="4075" y="606"/>
                </a:lnTo>
                <a:lnTo>
                  <a:pt x="4195" y="606"/>
                </a:lnTo>
                <a:cubicBezTo>
                  <a:pt x="4246" y="606"/>
                  <a:pt x="4324" y="601"/>
                  <a:pt x="4355" y="579"/>
                </a:cubicBezTo>
                <a:lnTo>
                  <a:pt x="4355" y="693"/>
                </a:lnTo>
                <a:cubicBezTo>
                  <a:pt x="4324" y="671"/>
                  <a:pt x="4246" y="666"/>
                  <a:pt x="4195" y="666"/>
                </a:cubicBezTo>
                <a:lnTo>
                  <a:pt x="4075" y="666"/>
                </a:lnTo>
                <a:lnTo>
                  <a:pt x="4075" y="1003"/>
                </a:lnTo>
                <a:cubicBezTo>
                  <a:pt x="4075" y="1058"/>
                  <a:pt x="4097" y="1076"/>
                  <a:pt x="4216" y="1076"/>
                </a:cubicBezTo>
                <a:lnTo>
                  <a:pt x="4242" y="1076"/>
                </a:lnTo>
                <a:cubicBezTo>
                  <a:pt x="4359" y="1076"/>
                  <a:pt x="4390" y="1068"/>
                  <a:pt x="4416" y="956"/>
                </a:cubicBezTo>
                <a:lnTo>
                  <a:pt x="4424" y="922"/>
                </a:lnTo>
                <a:lnTo>
                  <a:pt x="4480" y="922"/>
                </a:lnTo>
                <a:cubicBezTo>
                  <a:pt x="4477" y="992"/>
                  <a:pt x="4477" y="1063"/>
                  <a:pt x="4480" y="1133"/>
                </a:cubicBezTo>
                <a:lnTo>
                  <a:pt x="3830" y="1133"/>
                </a:lnTo>
                <a:lnTo>
                  <a:pt x="3830" y="1104"/>
                </a:lnTo>
                <a:cubicBezTo>
                  <a:pt x="3875" y="1094"/>
                  <a:pt x="3882" y="1081"/>
                  <a:pt x="3882" y="1032"/>
                </a:cubicBezTo>
                <a:lnTo>
                  <a:pt x="3882" y="328"/>
                </a:lnTo>
                <a:cubicBezTo>
                  <a:pt x="3882" y="278"/>
                  <a:pt x="3875" y="266"/>
                  <a:pt x="3830" y="255"/>
                </a:cubicBezTo>
                <a:lnTo>
                  <a:pt x="3830" y="227"/>
                </a:lnTo>
                <a:lnTo>
                  <a:pt x="4459" y="227"/>
                </a:lnTo>
                <a:cubicBezTo>
                  <a:pt x="4456" y="293"/>
                  <a:pt x="4456" y="358"/>
                  <a:pt x="4459" y="423"/>
                </a:cubicBezTo>
                <a:lnTo>
                  <a:pt x="4411" y="423"/>
                </a:lnTo>
                <a:lnTo>
                  <a:pt x="4399" y="386"/>
                </a:lnTo>
                <a:cubicBezTo>
                  <a:pt x="4371" y="293"/>
                  <a:pt x="4339" y="284"/>
                  <a:pt x="4221" y="284"/>
                </a:cubicBezTo>
                <a:lnTo>
                  <a:pt x="4120" y="284"/>
                </a:lnTo>
                <a:close/>
                <a:moveTo>
                  <a:pt x="4596" y="1133"/>
                </a:moveTo>
                <a:lnTo>
                  <a:pt x="4596" y="1104"/>
                </a:lnTo>
                <a:cubicBezTo>
                  <a:pt x="4641" y="1094"/>
                  <a:pt x="4647" y="1081"/>
                  <a:pt x="4647" y="1032"/>
                </a:cubicBezTo>
                <a:lnTo>
                  <a:pt x="4647" y="328"/>
                </a:lnTo>
                <a:cubicBezTo>
                  <a:pt x="4647" y="278"/>
                  <a:pt x="4641" y="266"/>
                  <a:pt x="4596" y="255"/>
                </a:cubicBezTo>
                <a:lnTo>
                  <a:pt x="4596" y="227"/>
                </a:lnTo>
                <a:lnTo>
                  <a:pt x="4970" y="227"/>
                </a:lnTo>
                <a:cubicBezTo>
                  <a:pt x="5150" y="227"/>
                  <a:pt x="5284" y="270"/>
                  <a:pt x="5284" y="487"/>
                </a:cubicBezTo>
                <a:cubicBezTo>
                  <a:pt x="5284" y="708"/>
                  <a:pt x="5150" y="774"/>
                  <a:pt x="4932" y="774"/>
                </a:cubicBezTo>
                <a:lnTo>
                  <a:pt x="4841" y="774"/>
                </a:lnTo>
                <a:lnTo>
                  <a:pt x="4841" y="1032"/>
                </a:lnTo>
                <a:cubicBezTo>
                  <a:pt x="4841" y="1081"/>
                  <a:pt x="4848" y="1094"/>
                  <a:pt x="4893" y="1104"/>
                </a:cubicBezTo>
                <a:lnTo>
                  <a:pt x="4893" y="1133"/>
                </a:lnTo>
                <a:lnTo>
                  <a:pt x="4596" y="1133"/>
                </a:lnTo>
                <a:close/>
                <a:moveTo>
                  <a:pt x="4933" y="718"/>
                </a:moveTo>
                <a:cubicBezTo>
                  <a:pt x="5053" y="718"/>
                  <a:pt x="5081" y="620"/>
                  <a:pt x="5081" y="479"/>
                </a:cubicBezTo>
                <a:cubicBezTo>
                  <a:pt x="5081" y="360"/>
                  <a:pt x="5040" y="284"/>
                  <a:pt x="4919" y="284"/>
                </a:cubicBezTo>
                <a:lnTo>
                  <a:pt x="4898" y="284"/>
                </a:lnTo>
                <a:cubicBezTo>
                  <a:pt x="4859" y="284"/>
                  <a:pt x="4841" y="290"/>
                  <a:pt x="4841" y="333"/>
                </a:cubicBezTo>
                <a:lnTo>
                  <a:pt x="4841" y="718"/>
                </a:lnTo>
                <a:lnTo>
                  <a:pt x="4933" y="718"/>
                </a:lnTo>
                <a:close/>
                <a:moveTo>
                  <a:pt x="5675" y="284"/>
                </a:moveTo>
                <a:cubicBezTo>
                  <a:pt x="5618" y="284"/>
                  <a:pt x="5610" y="298"/>
                  <a:pt x="5610" y="337"/>
                </a:cubicBezTo>
                <a:lnTo>
                  <a:pt x="5610" y="552"/>
                </a:lnTo>
                <a:lnTo>
                  <a:pt x="5661" y="552"/>
                </a:lnTo>
                <a:cubicBezTo>
                  <a:pt x="5909" y="552"/>
                  <a:pt x="6084" y="580"/>
                  <a:pt x="6084" y="830"/>
                </a:cubicBezTo>
                <a:cubicBezTo>
                  <a:pt x="6084" y="1073"/>
                  <a:pt x="5947" y="1133"/>
                  <a:pt x="5727" y="1133"/>
                </a:cubicBezTo>
                <a:lnTo>
                  <a:pt x="5365" y="1133"/>
                </a:lnTo>
                <a:lnTo>
                  <a:pt x="5365" y="1104"/>
                </a:lnTo>
                <a:cubicBezTo>
                  <a:pt x="5410" y="1094"/>
                  <a:pt x="5417" y="1081"/>
                  <a:pt x="5417" y="1032"/>
                </a:cubicBezTo>
                <a:lnTo>
                  <a:pt x="5417" y="328"/>
                </a:lnTo>
                <a:cubicBezTo>
                  <a:pt x="5417" y="278"/>
                  <a:pt x="5410" y="266"/>
                  <a:pt x="5365" y="255"/>
                </a:cubicBezTo>
                <a:lnTo>
                  <a:pt x="5365" y="227"/>
                </a:lnTo>
                <a:lnTo>
                  <a:pt x="6038" y="227"/>
                </a:lnTo>
                <a:cubicBezTo>
                  <a:pt x="6035" y="293"/>
                  <a:pt x="6035" y="358"/>
                  <a:pt x="6038" y="423"/>
                </a:cubicBezTo>
                <a:lnTo>
                  <a:pt x="5989" y="423"/>
                </a:lnTo>
                <a:lnTo>
                  <a:pt x="5977" y="386"/>
                </a:lnTo>
                <a:cubicBezTo>
                  <a:pt x="5949" y="293"/>
                  <a:pt x="5917" y="284"/>
                  <a:pt x="5799" y="284"/>
                </a:cubicBezTo>
                <a:lnTo>
                  <a:pt x="5675" y="284"/>
                </a:lnTo>
                <a:close/>
                <a:moveTo>
                  <a:pt x="5718" y="1076"/>
                </a:moveTo>
                <a:cubicBezTo>
                  <a:pt x="5835" y="1076"/>
                  <a:pt x="5882" y="997"/>
                  <a:pt x="5882" y="839"/>
                </a:cubicBezTo>
                <a:cubicBezTo>
                  <a:pt x="5882" y="691"/>
                  <a:pt x="5842" y="609"/>
                  <a:pt x="5689" y="609"/>
                </a:cubicBezTo>
                <a:lnTo>
                  <a:pt x="5610" y="609"/>
                </a:lnTo>
                <a:lnTo>
                  <a:pt x="5610" y="997"/>
                </a:lnTo>
                <a:cubicBezTo>
                  <a:pt x="5610" y="1055"/>
                  <a:pt x="5626" y="1076"/>
                  <a:pt x="5691" y="1076"/>
                </a:cubicBezTo>
                <a:lnTo>
                  <a:pt x="5718" y="1076"/>
                </a:lnTo>
                <a:close/>
                <a:moveTo>
                  <a:pt x="6742" y="1133"/>
                </a:moveTo>
                <a:cubicBezTo>
                  <a:pt x="6735" y="1083"/>
                  <a:pt x="6706" y="993"/>
                  <a:pt x="6682" y="921"/>
                </a:cubicBezTo>
                <a:lnTo>
                  <a:pt x="6643" y="805"/>
                </a:lnTo>
                <a:lnTo>
                  <a:pt x="6357" y="805"/>
                </a:lnTo>
                <a:cubicBezTo>
                  <a:pt x="6327" y="896"/>
                  <a:pt x="6305" y="970"/>
                  <a:pt x="6293" y="1022"/>
                </a:cubicBezTo>
                <a:cubicBezTo>
                  <a:pt x="6283" y="1073"/>
                  <a:pt x="6275" y="1112"/>
                  <a:pt x="6274" y="1133"/>
                </a:cubicBezTo>
                <a:lnTo>
                  <a:pt x="6110" y="1133"/>
                </a:lnTo>
                <a:cubicBezTo>
                  <a:pt x="6132" y="1098"/>
                  <a:pt x="6173" y="1018"/>
                  <a:pt x="6235" y="866"/>
                </a:cubicBezTo>
                <a:lnTo>
                  <a:pt x="6402" y="455"/>
                </a:lnTo>
                <a:cubicBezTo>
                  <a:pt x="6439" y="363"/>
                  <a:pt x="6446" y="334"/>
                  <a:pt x="6446" y="308"/>
                </a:cubicBezTo>
                <a:cubicBezTo>
                  <a:pt x="6446" y="290"/>
                  <a:pt x="6441" y="266"/>
                  <a:pt x="6394" y="255"/>
                </a:cubicBezTo>
                <a:lnTo>
                  <a:pt x="6394" y="227"/>
                </a:lnTo>
                <a:lnTo>
                  <a:pt x="6652" y="227"/>
                </a:lnTo>
                <a:cubicBezTo>
                  <a:pt x="6656" y="254"/>
                  <a:pt x="6659" y="285"/>
                  <a:pt x="6686" y="361"/>
                </a:cubicBezTo>
                <a:lnTo>
                  <a:pt x="6876" y="904"/>
                </a:lnTo>
                <a:cubicBezTo>
                  <a:pt x="6913" y="1010"/>
                  <a:pt x="6953" y="1101"/>
                  <a:pt x="6973" y="1133"/>
                </a:cubicBezTo>
                <a:lnTo>
                  <a:pt x="6742" y="1133"/>
                </a:lnTo>
                <a:close/>
                <a:moveTo>
                  <a:pt x="6624" y="745"/>
                </a:moveTo>
                <a:lnTo>
                  <a:pt x="6503" y="380"/>
                </a:lnTo>
                <a:lnTo>
                  <a:pt x="6377" y="745"/>
                </a:lnTo>
                <a:lnTo>
                  <a:pt x="6624" y="745"/>
                </a:lnTo>
                <a:close/>
                <a:moveTo>
                  <a:pt x="7636" y="666"/>
                </a:moveTo>
                <a:lnTo>
                  <a:pt x="7288" y="666"/>
                </a:lnTo>
                <a:lnTo>
                  <a:pt x="7288" y="1032"/>
                </a:lnTo>
                <a:cubicBezTo>
                  <a:pt x="7288" y="1081"/>
                  <a:pt x="7294" y="1094"/>
                  <a:pt x="7339" y="1104"/>
                </a:cubicBezTo>
                <a:lnTo>
                  <a:pt x="7339" y="1133"/>
                </a:lnTo>
                <a:lnTo>
                  <a:pt x="7042" y="1133"/>
                </a:lnTo>
                <a:lnTo>
                  <a:pt x="7042" y="1104"/>
                </a:lnTo>
                <a:cubicBezTo>
                  <a:pt x="7087" y="1094"/>
                  <a:pt x="7094" y="1081"/>
                  <a:pt x="7094" y="1032"/>
                </a:cubicBezTo>
                <a:lnTo>
                  <a:pt x="7094" y="328"/>
                </a:lnTo>
                <a:cubicBezTo>
                  <a:pt x="7094" y="278"/>
                  <a:pt x="7087" y="266"/>
                  <a:pt x="7042" y="255"/>
                </a:cubicBezTo>
                <a:lnTo>
                  <a:pt x="7042" y="227"/>
                </a:lnTo>
                <a:lnTo>
                  <a:pt x="7339" y="227"/>
                </a:lnTo>
                <a:lnTo>
                  <a:pt x="7339" y="255"/>
                </a:lnTo>
                <a:cubicBezTo>
                  <a:pt x="7294" y="266"/>
                  <a:pt x="7288" y="278"/>
                  <a:pt x="7288" y="328"/>
                </a:cubicBezTo>
                <a:lnTo>
                  <a:pt x="7288" y="606"/>
                </a:lnTo>
                <a:lnTo>
                  <a:pt x="7636" y="606"/>
                </a:lnTo>
                <a:lnTo>
                  <a:pt x="7636" y="328"/>
                </a:lnTo>
                <a:cubicBezTo>
                  <a:pt x="7636" y="278"/>
                  <a:pt x="7629" y="266"/>
                  <a:pt x="7584" y="255"/>
                </a:cubicBezTo>
                <a:lnTo>
                  <a:pt x="7584" y="227"/>
                </a:lnTo>
                <a:lnTo>
                  <a:pt x="7881" y="227"/>
                </a:lnTo>
                <a:lnTo>
                  <a:pt x="7881" y="255"/>
                </a:lnTo>
                <a:cubicBezTo>
                  <a:pt x="7836" y="266"/>
                  <a:pt x="7830" y="278"/>
                  <a:pt x="7830" y="328"/>
                </a:cubicBezTo>
                <a:lnTo>
                  <a:pt x="7830" y="1032"/>
                </a:lnTo>
                <a:cubicBezTo>
                  <a:pt x="7830" y="1081"/>
                  <a:pt x="7836" y="1094"/>
                  <a:pt x="7881" y="1104"/>
                </a:cubicBezTo>
                <a:lnTo>
                  <a:pt x="7881" y="1133"/>
                </a:lnTo>
                <a:lnTo>
                  <a:pt x="7584" y="1133"/>
                </a:lnTo>
                <a:lnTo>
                  <a:pt x="7584" y="1104"/>
                </a:lnTo>
                <a:cubicBezTo>
                  <a:pt x="7629" y="1094"/>
                  <a:pt x="7636" y="1081"/>
                  <a:pt x="7636" y="1032"/>
                </a:cubicBezTo>
                <a:lnTo>
                  <a:pt x="7636" y="666"/>
                </a:lnTo>
                <a:close/>
                <a:moveTo>
                  <a:pt x="8076" y="328"/>
                </a:moveTo>
                <a:cubicBezTo>
                  <a:pt x="8076" y="278"/>
                  <a:pt x="8070" y="266"/>
                  <a:pt x="8025" y="255"/>
                </a:cubicBezTo>
                <a:lnTo>
                  <a:pt x="8025" y="227"/>
                </a:lnTo>
                <a:lnTo>
                  <a:pt x="8322" y="227"/>
                </a:lnTo>
                <a:lnTo>
                  <a:pt x="8322" y="255"/>
                </a:lnTo>
                <a:cubicBezTo>
                  <a:pt x="8276" y="266"/>
                  <a:pt x="8270" y="278"/>
                  <a:pt x="8270" y="328"/>
                </a:cubicBezTo>
                <a:lnTo>
                  <a:pt x="8270" y="1032"/>
                </a:lnTo>
                <a:cubicBezTo>
                  <a:pt x="8270" y="1081"/>
                  <a:pt x="8276" y="1094"/>
                  <a:pt x="8322" y="1104"/>
                </a:cubicBezTo>
                <a:lnTo>
                  <a:pt x="8322" y="1133"/>
                </a:lnTo>
                <a:lnTo>
                  <a:pt x="8025" y="1133"/>
                </a:lnTo>
                <a:lnTo>
                  <a:pt x="8025" y="1104"/>
                </a:lnTo>
                <a:cubicBezTo>
                  <a:pt x="8070" y="1094"/>
                  <a:pt x="8076" y="1081"/>
                  <a:pt x="8076" y="1032"/>
                </a:cubicBezTo>
                <a:lnTo>
                  <a:pt x="8076" y="328"/>
                </a:lnTo>
                <a:close/>
                <a:moveTo>
                  <a:pt x="8556" y="736"/>
                </a:moveTo>
                <a:cubicBezTo>
                  <a:pt x="8620" y="825"/>
                  <a:pt x="8767" y="1024"/>
                  <a:pt x="8874" y="1133"/>
                </a:cubicBezTo>
                <a:lnTo>
                  <a:pt x="8571" y="1133"/>
                </a:lnTo>
                <a:cubicBezTo>
                  <a:pt x="8549" y="1085"/>
                  <a:pt x="8516" y="1006"/>
                  <a:pt x="8422" y="864"/>
                </a:cubicBezTo>
                <a:lnTo>
                  <a:pt x="8285" y="658"/>
                </a:lnTo>
                <a:lnTo>
                  <a:pt x="8404" y="504"/>
                </a:lnTo>
                <a:cubicBezTo>
                  <a:pt x="8475" y="412"/>
                  <a:pt x="8567" y="289"/>
                  <a:pt x="8591" y="227"/>
                </a:cubicBezTo>
                <a:lnTo>
                  <a:pt x="8803" y="227"/>
                </a:lnTo>
                <a:lnTo>
                  <a:pt x="8803" y="228"/>
                </a:lnTo>
                <a:cubicBezTo>
                  <a:pt x="8718" y="277"/>
                  <a:pt x="8575" y="422"/>
                  <a:pt x="8533" y="468"/>
                </a:cubicBezTo>
                <a:lnTo>
                  <a:pt x="8439" y="569"/>
                </a:lnTo>
                <a:lnTo>
                  <a:pt x="8556" y="736"/>
                </a:lnTo>
                <a:close/>
                <a:moveTo>
                  <a:pt x="2262" y="1450"/>
                </a:moveTo>
                <a:lnTo>
                  <a:pt x="8874" y="1450"/>
                </a:lnTo>
                <a:lnTo>
                  <a:pt x="8874" y="1359"/>
                </a:lnTo>
                <a:lnTo>
                  <a:pt x="2262" y="1359"/>
                </a:lnTo>
                <a:lnTo>
                  <a:pt x="2262" y="145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554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: Дэшбор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06438CC3-90C9-B54A-9270-210C8E0CC8E7}"/>
              </a:ext>
            </a:extLst>
          </p:cNvPr>
          <p:cNvSpPr txBox="1"/>
          <p:nvPr userDrawn="1"/>
        </p:nvSpPr>
        <p:spPr>
          <a:xfrm>
            <a:off x="6916190" y="1006322"/>
            <a:ext cx="4924519" cy="2493336"/>
          </a:xfrm>
          <a:prstGeom prst="roundRect">
            <a:avLst>
              <a:gd name="adj" fmla="val 1039"/>
            </a:avLst>
          </a:prstGeom>
          <a:solidFill>
            <a:schemeClr val="bg1"/>
          </a:solidFill>
          <a:effectLst>
            <a:outerShdw blurRad="63500" algn="ctr" rotWithShape="0">
              <a:schemeClr val="tx1">
                <a:alpha val="40000"/>
              </a:schemeClr>
            </a:outerShdw>
          </a:effectLst>
        </p:spPr>
        <p:txBody>
          <a:bodyPr wrap="square" lIns="503999" tIns="108000" bIns="0" rtlCol="0" anchor="t" anchorCtr="0">
            <a:noAutofit/>
          </a:bodyPr>
          <a:lstStyle/>
          <a:p>
            <a:r>
              <a:rPr lang="ru-RU" b="1" dirty="0"/>
              <a:t>Результаты 2017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8B951E91-CCAC-B844-8F0D-44A8B32D6324}"/>
              </a:ext>
            </a:extLst>
          </p:cNvPr>
          <p:cNvSpPr txBox="1"/>
          <p:nvPr userDrawn="1"/>
        </p:nvSpPr>
        <p:spPr>
          <a:xfrm>
            <a:off x="302547" y="1006322"/>
            <a:ext cx="6322699" cy="5506904"/>
          </a:xfrm>
          <a:prstGeom prst="roundRect">
            <a:avLst>
              <a:gd name="adj" fmla="val 442"/>
            </a:avLst>
          </a:prstGeom>
          <a:solidFill>
            <a:schemeClr val="bg1"/>
          </a:solidFill>
          <a:effectLst>
            <a:outerShdw blurRad="63500" algn="ctr" rotWithShape="0">
              <a:schemeClr val="tx1">
                <a:alpha val="40000"/>
              </a:schemeClr>
            </a:outerShdw>
          </a:effectLst>
        </p:spPr>
        <p:txBody>
          <a:bodyPr wrap="square" lIns="503999" tIns="108000" bIns="0" rtlCol="0" anchor="t" anchorCtr="0">
            <a:noAutofit/>
          </a:bodyPr>
          <a:lstStyle>
            <a:defPPr>
              <a:defRPr lang="ru-RU"/>
            </a:defPPr>
            <a:lvl1pPr>
              <a:defRPr b="1"/>
            </a:lvl1pPr>
          </a:lstStyle>
          <a:p>
            <a:r>
              <a:rPr lang="ru-RU" dirty="0"/>
              <a:t>Достижения </a:t>
            </a:r>
            <a:r>
              <a:rPr lang="en-US" dirty="0"/>
              <a:t>2017</a:t>
            </a: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F2B914FF-CABE-E94C-BABF-C4493271DB29}"/>
              </a:ext>
            </a:extLst>
          </p:cNvPr>
          <p:cNvSpPr txBox="1"/>
          <p:nvPr userDrawn="1"/>
        </p:nvSpPr>
        <p:spPr>
          <a:xfrm>
            <a:off x="6916190" y="3782293"/>
            <a:ext cx="4924519" cy="2730935"/>
          </a:xfrm>
          <a:prstGeom prst="roundRect">
            <a:avLst>
              <a:gd name="adj" fmla="val 1039"/>
            </a:avLst>
          </a:prstGeom>
          <a:solidFill>
            <a:schemeClr val="bg1"/>
          </a:solidFill>
          <a:effectLst>
            <a:outerShdw blurRad="63500" algn="ctr" rotWithShape="0">
              <a:schemeClr val="tx1">
                <a:alpha val="40000"/>
              </a:schemeClr>
            </a:outerShdw>
          </a:effectLst>
        </p:spPr>
        <p:txBody>
          <a:bodyPr wrap="square" lIns="503999" tIns="108000" bIns="0" rtlCol="0" anchor="t" anchorCtr="0">
            <a:noAutofit/>
          </a:bodyPr>
          <a:lstStyle/>
          <a:p>
            <a:r>
              <a:rPr lang="ru-RU" b="1" dirty="0"/>
              <a:t>Планы на </a:t>
            </a:r>
            <a:r>
              <a:rPr lang="en-US" b="1" dirty="0"/>
              <a:t>2018</a:t>
            </a:r>
            <a:endParaRPr lang="ru-RU" b="1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81764C5F-4D60-B449-820B-E75FC007F53F}"/>
              </a:ext>
            </a:extLst>
          </p:cNvPr>
          <p:cNvCxnSpPr>
            <a:cxnSpLocks/>
          </p:cNvCxnSpPr>
          <p:nvPr userDrawn="1"/>
        </p:nvCxnSpPr>
        <p:spPr>
          <a:xfrm>
            <a:off x="6916190" y="1497910"/>
            <a:ext cx="4924519" cy="0"/>
          </a:xfrm>
          <a:prstGeom prst="line">
            <a:avLst/>
          </a:prstGeom>
          <a:ln w="952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8CB00B1B-8835-1D45-8306-0B15C7A517E8}"/>
              </a:ext>
            </a:extLst>
          </p:cNvPr>
          <p:cNvCxnSpPr>
            <a:cxnSpLocks/>
          </p:cNvCxnSpPr>
          <p:nvPr userDrawn="1"/>
        </p:nvCxnSpPr>
        <p:spPr>
          <a:xfrm>
            <a:off x="6916190" y="4276642"/>
            <a:ext cx="4924519" cy="0"/>
          </a:xfrm>
          <a:prstGeom prst="line">
            <a:avLst/>
          </a:prstGeom>
          <a:ln w="952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="" xmlns:a16="http://schemas.microsoft.com/office/drawing/2014/main" id="{CF38768A-F828-B146-A647-749CCC7C6202}"/>
              </a:ext>
            </a:extLst>
          </p:cNvPr>
          <p:cNvCxnSpPr>
            <a:cxnSpLocks/>
          </p:cNvCxnSpPr>
          <p:nvPr userDrawn="1"/>
        </p:nvCxnSpPr>
        <p:spPr>
          <a:xfrm>
            <a:off x="291314" y="1497910"/>
            <a:ext cx="6333932" cy="0"/>
          </a:xfrm>
          <a:prstGeom prst="line">
            <a:avLst/>
          </a:prstGeom>
          <a:ln w="952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72CC20C-CF57-C947-95A7-B9B5F59AD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12" name="Freeform 7">
            <a:extLst>
              <a:ext uri="{FF2B5EF4-FFF2-40B4-BE49-F238E27FC236}">
                <a16:creationId xmlns="" xmlns:a16="http://schemas.microsoft.com/office/drawing/2014/main" id="{7597441E-3E29-2842-9A91-6324EF9F399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088551" y="3904681"/>
            <a:ext cx="212725" cy="212725"/>
          </a:xfrm>
          <a:custGeom>
            <a:avLst/>
            <a:gdLst>
              <a:gd name="T0" fmla="*/ 557 w 592"/>
              <a:gd name="T1" fmla="*/ 183 h 590"/>
              <a:gd name="T2" fmla="*/ 543 w 592"/>
              <a:gd name="T3" fmla="*/ 445 h 590"/>
              <a:gd name="T4" fmla="*/ 291 w 592"/>
              <a:gd name="T5" fmla="*/ 589 h 590"/>
              <a:gd name="T6" fmla="*/ 39 w 592"/>
              <a:gd name="T7" fmla="*/ 445 h 590"/>
              <a:gd name="T8" fmla="*/ 39 w 592"/>
              <a:gd name="T9" fmla="*/ 154 h 590"/>
              <a:gd name="T10" fmla="*/ 291 w 592"/>
              <a:gd name="T11" fmla="*/ 9 h 590"/>
              <a:gd name="T12" fmla="*/ 366 w 592"/>
              <a:gd name="T13" fmla="*/ 74 h 590"/>
              <a:gd name="T14" fmla="*/ 290 w 592"/>
              <a:gd name="T15" fmla="*/ 62 h 590"/>
              <a:gd name="T16" fmla="*/ 290 w 592"/>
              <a:gd name="T17" fmla="*/ 62 h 590"/>
              <a:gd name="T18" fmla="*/ 84 w 592"/>
              <a:gd name="T19" fmla="*/ 180 h 590"/>
              <a:gd name="T20" fmla="*/ 84 w 592"/>
              <a:gd name="T21" fmla="*/ 418 h 590"/>
              <a:gd name="T22" fmla="*/ 290 w 592"/>
              <a:gd name="T23" fmla="*/ 537 h 590"/>
              <a:gd name="T24" fmla="*/ 497 w 592"/>
              <a:gd name="T25" fmla="*/ 418 h 590"/>
              <a:gd name="T26" fmla="*/ 528 w 592"/>
              <a:gd name="T27" fmla="*/ 299 h 590"/>
              <a:gd name="T28" fmla="*/ 516 w 592"/>
              <a:gd name="T29" fmla="*/ 224 h 590"/>
              <a:gd name="T30" fmla="*/ 284 w 592"/>
              <a:gd name="T31" fmla="*/ 194 h 590"/>
              <a:gd name="T32" fmla="*/ 331 w 592"/>
              <a:gd name="T33" fmla="*/ 146 h 590"/>
              <a:gd name="T34" fmla="*/ 290 w 592"/>
              <a:gd name="T35" fmla="*/ 141 h 590"/>
              <a:gd name="T36" fmla="*/ 211 w 592"/>
              <a:gd name="T37" fmla="*/ 162 h 590"/>
              <a:gd name="T38" fmla="*/ 132 w 592"/>
              <a:gd name="T39" fmla="*/ 299 h 590"/>
              <a:gd name="T40" fmla="*/ 211 w 592"/>
              <a:gd name="T41" fmla="*/ 437 h 590"/>
              <a:gd name="T42" fmla="*/ 370 w 592"/>
              <a:gd name="T43" fmla="*/ 437 h 590"/>
              <a:gd name="T44" fmla="*/ 449 w 592"/>
              <a:gd name="T45" fmla="*/ 299 h 590"/>
              <a:gd name="T46" fmla="*/ 449 w 592"/>
              <a:gd name="T47" fmla="*/ 299 h 590"/>
              <a:gd name="T48" fmla="*/ 396 w 592"/>
              <a:gd name="T49" fmla="*/ 306 h 590"/>
              <a:gd name="T50" fmla="*/ 382 w 592"/>
              <a:gd name="T51" fmla="*/ 352 h 590"/>
              <a:gd name="T52" fmla="*/ 291 w 592"/>
              <a:gd name="T53" fmla="*/ 405 h 590"/>
              <a:gd name="T54" fmla="*/ 199 w 592"/>
              <a:gd name="T55" fmla="*/ 352 h 590"/>
              <a:gd name="T56" fmla="*/ 199 w 592"/>
              <a:gd name="T57" fmla="*/ 246 h 590"/>
              <a:gd name="T58" fmla="*/ 284 w 592"/>
              <a:gd name="T59" fmla="*/ 194 h 590"/>
              <a:gd name="T60" fmla="*/ 384 w 592"/>
              <a:gd name="T61" fmla="*/ 169 h 590"/>
              <a:gd name="T62" fmla="*/ 272 w 592"/>
              <a:gd name="T63" fmla="*/ 281 h 590"/>
              <a:gd name="T64" fmla="*/ 267 w 592"/>
              <a:gd name="T65" fmla="*/ 286 h 590"/>
              <a:gd name="T66" fmla="*/ 267 w 592"/>
              <a:gd name="T67" fmla="*/ 313 h 590"/>
              <a:gd name="T68" fmla="*/ 290 w 592"/>
              <a:gd name="T69" fmla="*/ 326 h 590"/>
              <a:gd name="T70" fmla="*/ 309 w 592"/>
              <a:gd name="T71" fmla="*/ 318 h 590"/>
              <a:gd name="T72" fmla="*/ 498 w 592"/>
              <a:gd name="T73" fmla="*/ 206 h 590"/>
              <a:gd name="T74" fmla="*/ 535 w 592"/>
              <a:gd name="T75" fmla="*/ 94 h 590"/>
              <a:gd name="T76" fmla="*/ 515 w 592"/>
              <a:gd name="T77" fmla="*/ 38 h 590"/>
              <a:gd name="T78" fmla="*/ 477 w 592"/>
              <a:gd name="T79" fmla="*/ 0 h 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92" h="590">
                <a:moveTo>
                  <a:pt x="557" y="183"/>
                </a:moveTo>
                <a:lnTo>
                  <a:pt x="557" y="183"/>
                </a:lnTo>
                <a:cubicBezTo>
                  <a:pt x="574" y="221"/>
                  <a:pt x="582" y="257"/>
                  <a:pt x="582" y="299"/>
                </a:cubicBezTo>
                <a:cubicBezTo>
                  <a:pt x="582" y="353"/>
                  <a:pt x="569" y="398"/>
                  <a:pt x="543" y="445"/>
                </a:cubicBezTo>
                <a:cubicBezTo>
                  <a:pt x="516" y="491"/>
                  <a:pt x="482" y="524"/>
                  <a:pt x="436" y="551"/>
                </a:cubicBezTo>
                <a:cubicBezTo>
                  <a:pt x="390" y="577"/>
                  <a:pt x="344" y="589"/>
                  <a:pt x="291" y="589"/>
                </a:cubicBezTo>
                <a:cubicBezTo>
                  <a:pt x="237" y="589"/>
                  <a:pt x="191" y="577"/>
                  <a:pt x="145" y="551"/>
                </a:cubicBezTo>
                <a:cubicBezTo>
                  <a:pt x="99" y="524"/>
                  <a:pt x="65" y="491"/>
                  <a:pt x="39" y="445"/>
                </a:cubicBezTo>
                <a:cubicBezTo>
                  <a:pt x="12" y="398"/>
                  <a:pt x="0" y="352"/>
                  <a:pt x="0" y="299"/>
                </a:cubicBezTo>
                <a:cubicBezTo>
                  <a:pt x="0" y="245"/>
                  <a:pt x="12" y="200"/>
                  <a:pt x="39" y="154"/>
                </a:cubicBezTo>
                <a:cubicBezTo>
                  <a:pt x="65" y="108"/>
                  <a:pt x="99" y="73"/>
                  <a:pt x="145" y="47"/>
                </a:cubicBezTo>
                <a:cubicBezTo>
                  <a:pt x="191" y="20"/>
                  <a:pt x="237" y="9"/>
                  <a:pt x="291" y="9"/>
                </a:cubicBezTo>
                <a:cubicBezTo>
                  <a:pt x="333" y="9"/>
                  <a:pt x="369" y="16"/>
                  <a:pt x="407" y="33"/>
                </a:cubicBezTo>
                <a:lnTo>
                  <a:pt x="366" y="74"/>
                </a:lnTo>
                <a:lnTo>
                  <a:pt x="366" y="74"/>
                </a:lnTo>
                <a:cubicBezTo>
                  <a:pt x="341" y="65"/>
                  <a:pt x="318" y="62"/>
                  <a:pt x="290" y="62"/>
                </a:cubicBezTo>
                <a:lnTo>
                  <a:pt x="290" y="62"/>
                </a:lnTo>
                <a:lnTo>
                  <a:pt x="290" y="62"/>
                </a:lnTo>
                <a:cubicBezTo>
                  <a:pt x="247" y="62"/>
                  <a:pt x="209" y="71"/>
                  <a:pt x="171" y="93"/>
                </a:cubicBezTo>
                <a:cubicBezTo>
                  <a:pt x="133" y="115"/>
                  <a:pt x="106" y="142"/>
                  <a:pt x="84" y="180"/>
                </a:cubicBezTo>
                <a:cubicBezTo>
                  <a:pt x="62" y="217"/>
                  <a:pt x="52" y="255"/>
                  <a:pt x="52" y="299"/>
                </a:cubicBezTo>
                <a:cubicBezTo>
                  <a:pt x="52" y="342"/>
                  <a:pt x="62" y="380"/>
                  <a:pt x="84" y="418"/>
                </a:cubicBezTo>
                <a:cubicBezTo>
                  <a:pt x="106" y="456"/>
                  <a:pt x="133" y="483"/>
                  <a:pt x="171" y="505"/>
                </a:cubicBezTo>
                <a:cubicBezTo>
                  <a:pt x="209" y="526"/>
                  <a:pt x="246" y="537"/>
                  <a:pt x="290" y="537"/>
                </a:cubicBezTo>
                <a:cubicBezTo>
                  <a:pt x="333" y="537"/>
                  <a:pt x="371" y="526"/>
                  <a:pt x="409" y="505"/>
                </a:cubicBezTo>
                <a:cubicBezTo>
                  <a:pt x="447" y="483"/>
                  <a:pt x="475" y="456"/>
                  <a:pt x="497" y="418"/>
                </a:cubicBezTo>
                <a:cubicBezTo>
                  <a:pt x="519" y="380"/>
                  <a:pt x="528" y="343"/>
                  <a:pt x="528" y="299"/>
                </a:cubicBezTo>
                <a:lnTo>
                  <a:pt x="528" y="299"/>
                </a:lnTo>
                <a:lnTo>
                  <a:pt x="528" y="299"/>
                </a:lnTo>
                <a:cubicBezTo>
                  <a:pt x="528" y="272"/>
                  <a:pt x="525" y="249"/>
                  <a:pt x="516" y="224"/>
                </a:cubicBezTo>
                <a:lnTo>
                  <a:pt x="557" y="183"/>
                </a:lnTo>
                <a:close/>
                <a:moveTo>
                  <a:pt x="284" y="194"/>
                </a:moveTo>
                <a:lnTo>
                  <a:pt x="331" y="146"/>
                </a:lnTo>
                <a:lnTo>
                  <a:pt x="331" y="146"/>
                </a:lnTo>
                <a:cubicBezTo>
                  <a:pt x="318" y="142"/>
                  <a:pt x="306" y="141"/>
                  <a:pt x="292" y="141"/>
                </a:cubicBezTo>
                <a:cubicBezTo>
                  <a:pt x="291" y="141"/>
                  <a:pt x="291" y="141"/>
                  <a:pt x="290" y="141"/>
                </a:cubicBezTo>
                <a:lnTo>
                  <a:pt x="290" y="141"/>
                </a:lnTo>
                <a:cubicBezTo>
                  <a:pt x="261" y="141"/>
                  <a:pt x="236" y="147"/>
                  <a:pt x="211" y="162"/>
                </a:cubicBezTo>
                <a:cubicBezTo>
                  <a:pt x="186" y="177"/>
                  <a:pt x="168" y="195"/>
                  <a:pt x="153" y="220"/>
                </a:cubicBezTo>
                <a:cubicBezTo>
                  <a:pt x="138" y="245"/>
                  <a:pt x="132" y="269"/>
                  <a:pt x="132" y="299"/>
                </a:cubicBezTo>
                <a:cubicBezTo>
                  <a:pt x="132" y="328"/>
                  <a:pt x="138" y="353"/>
                  <a:pt x="153" y="379"/>
                </a:cubicBezTo>
                <a:cubicBezTo>
                  <a:pt x="168" y="404"/>
                  <a:pt x="186" y="422"/>
                  <a:pt x="211" y="437"/>
                </a:cubicBezTo>
                <a:cubicBezTo>
                  <a:pt x="236" y="451"/>
                  <a:pt x="260" y="458"/>
                  <a:pt x="290" y="458"/>
                </a:cubicBezTo>
                <a:cubicBezTo>
                  <a:pt x="319" y="458"/>
                  <a:pt x="344" y="451"/>
                  <a:pt x="370" y="437"/>
                </a:cubicBezTo>
                <a:cubicBezTo>
                  <a:pt x="395" y="422"/>
                  <a:pt x="413" y="404"/>
                  <a:pt x="428" y="379"/>
                </a:cubicBezTo>
                <a:cubicBezTo>
                  <a:pt x="442" y="353"/>
                  <a:pt x="449" y="329"/>
                  <a:pt x="449" y="299"/>
                </a:cubicBezTo>
                <a:lnTo>
                  <a:pt x="449" y="299"/>
                </a:lnTo>
                <a:lnTo>
                  <a:pt x="449" y="299"/>
                </a:lnTo>
                <a:cubicBezTo>
                  <a:pt x="449" y="284"/>
                  <a:pt x="447" y="272"/>
                  <a:pt x="444" y="258"/>
                </a:cubicBezTo>
                <a:lnTo>
                  <a:pt x="396" y="306"/>
                </a:lnTo>
                <a:lnTo>
                  <a:pt x="396" y="306"/>
                </a:lnTo>
                <a:cubicBezTo>
                  <a:pt x="395" y="323"/>
                  <a:pt x="390" y="336"/>
                  <a:pt x="382" y="352"/>
                </a:cubicBezTo>
                <a:cubicBezTo>
                  <a:pt x="372" y="368"/>
                  <a:pt x="360" y="381"/>
                  <a:pt x="344" y="391"/>
                </a:cubicBezTo>
                <a:cubicBezTo>
                  <a:pt x="327" y="401"/>
                  <a:pt x="310" y="405"/>
                  <a:pt x="291" y="405"/>
                </a:cubicBezTo>
                <a:cubicBezTo>
                  <a:pt x="271" y="405"/>
                  <a:pt x="255" y="401"/>
                  <a:pt x="238" y="391"/>
                </a:cubicBezTo>
                <a:cubicBezTo>
                  <a:pt x="221" y="381"/>
                  <a:pt x="209" y="369"/>
                  <a:pt x="199" y="352"/>
                </a:cubicBezTo>
                <a:cubicBezTo>
                  <a:pt x="189" y="335"/>
                  <a:pt x="185" y="318"/>
                  <a:pt x="185" y="299"/>
                </a:cubicBezTo>
                <a:cubicBezTo>
                  <a:pt x="185" y="279"/>
                  <a:pt x="189" y="263"/>
                  <a:pt x="199" y="246"/>
                </a:cubicBezTo>
                <a:cubicBezTo>
                  <a:pt x="209" y="229"/>
                  <a:pt x="221" y="217"/>
                  <a:pt x="238" y="208"/>
                </a:cubicBezTo>
                <a:cubicBezTo>
                  <a:pt x="253" y="199"/>
                  <a:pt x="267" y="195"/>
                  <a:pt x="284" y="194"/>
                </a:cubicBezTo>
                <a:close/>
                <a:moveTo>
                  <a:pt x="384" y="94"/>
                </a:moveTo>
                <a:lnTo>
                  <a:pt x="384" y="169"/>
                </a:lnTo>
                <a:lnTo>
                  <a:pt x="384" y="169"/>
                </a:lnTo>
                <a:lnTo>
                  <a:pt x="272" y="281"/>
                </a:lnTo>
                <a:lnTo>
                  <a:pt x="272" y="281"/>
                </a:lnTo>
                <a:cubicBezTo>
                  <a:pt x="270" y="282"/>
                  <a:pt x="268" y="283"/>
                  <a:pt x="267" y="286"/>
                </a:cubicBezTo>
                <a:cubicBezTo>
                  <a:pt x="264" y="289"/>
                  <a:pt x="264" y="294"/>
                  <a:pt x="264" y="299"/>
                </a:cubicBezTo>
                <a:cubicBezTo>
                  <a:pt x="264" y="303"/>
                  <a:pt x="264" y="308"/>
                  <a:pt x="267" y="313"/>
                </a:cubicBezTo>
                <a:cubicBezTo>
                  <a:pt x="269" y="317"/>
                  <a:pt x="273" y="319"/>
                  <a:pt x="277" y="322"/>
                </a:cubicBezTo>
                <a:cubicBezTo>
                  <a:pt x="281" y="324"/>
                  <a:pt x="285" y="326"/>
                  <a:pt x="290" y="326"/>
                </a:cubicBezTo>
                <a:cubicBezTo>
                  <a:pt x="294" y="326"/>
                  <a:pt x="299" y="325"/>
                  <a:pt x="304" y="322"/>
                </a:cubicBezTo>
                <a:cubicBezTo>
                  <a:pt x="306" y="321"/>
                  <a:pt x="307" y="320"/>
                  <a:pt x="309" y="318"/>
                </a:cubicBezTo>
                <a:lnTo>
                  <a:pt x="423" y="206"/>
                </a:lnTo>
                <a:lnTo>
                  <a:pt x="498" y="206"/>
                </a:lnTo>
                <a:lnTo>
                  <a:pt x="591" y="113"/>
                </a:lnTo>
                <a:lnTo>
                  <a:pt x="535" y="94"/>
                </a:lnTo>
                <a:lnTo>
                  <a:pt x="554" y="75"/>
                </a:lnTo>
                <a:lnTo>
                  <a:pt x="515" y="38"/>
                </a:lnTo>
                <a:lnTo>
                  <a:pt x="496" y="56"/>
                </a:lnTo>
                <a:lnTo>
                  <a:pt x="477" y="0"/>
                </a:lnTo>
                <a:lnTo>
                  <a:pt x="384" y="94"/>
                </a:lnTo>
                <a:close/>
              </a:path>
            </a:pathLst>
          </a:custGeom>
          <a:solidFill>
            <a:schemeClr val="tx1">
              <a:alpha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13" name="Freeform 8">
            <a:extLst>
              <a:ext uri="{FF2B5EF4-FFF2-40B4-BE49-F238E27FC236}">
                <a16:creationId xmlns="" xmlns:a16="http://schemas.microsoft.com/office/drawing/2014/main" id="{59EA2624-BAAA-EA43-A110-FF89B954B67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10775" y="1130930"/>
            <a:ext cx="190500" cy="190500"/>
          </a:xfrm>
          <a:custGeom>
            <a:avLst/>
            <a:gdLst>
              <a:gd name="T0" fmla="*/ 476 w 530"/>
              <a:gd name="T1" fmla="*/ 0 h 530"/>
              <a:gd name="T2" fmla="*/ 370 w 530"/>
              <a:gd name="T3" fmla="*/ 0 h 530"/>
              <a:gd name="T4" fmla="*/ 370 w 530"/>
              <a:gd name="T5" fmla="*/ 53 h 530"/>
              <a:gd name="T6" fmla="*/ 438 w 530"/>
              <a:gd name="T7" fmla="*/ 53 h 530"/>
              <a:gd name="T8" fmla="*/ 291 w 530"/>
              <a:gd name="T9" fmla="*/ 201 h 530"/>
              <a:gd name="T10" fmla="*/ 213 w 530"/>
              <a:gd name="T11" fmla="*/ 123 h 530"/>
              <a:gd name="T12" fmla="*/ 53 w 530"/>
              <a:gd name="T13" fmla="*/ 260 h 530"/>
              <a:gd name="T14" fmla="*/ 53 w 530"/>
              <a:gd name="T15" fmla="*/ 212 h 530"/>
              <a:gd name="T16" fmla="*/ 79 w 530"/>
              <a:gd name="T17" fmla="*/ 212 h 530"/>
              <a:gd name="T18" fmla="*/ 79 w 530"/>
              <a:gd name="T19" fmla="*/ 159 h 530"/>
              <a:gd name="T20" fmla="*/ 53 w 530"/>
              <a:gd name="T21" fmla="*/ 159 h 530"/>
              <a:gd name="T22" fmla="*/ 53 w 530"/>
              <a:gd name="T23" fmla="*/ 106 h 530"/>
              <a:gd name="T24" fmla="*/ 79 w 530"/>
              <a:gd name="T25" fmla="*/ 106 h 530"/>
              <a:gd name="T26" fmla="*/ 79 w 530"/>
              <a:gd name="T27" fmla="*/ 53 h 530"/>
              <a:gd name="T28" fmla="*/ 53 w 530"/>
              <a:gd name="T29" fmla="*/ 53 h 530"/>
              <a:gd name="T30" fmla="*/ 53 w 530"/>
              <a:gd name="T31" fmla="*/ 0 h 530"/>
              <a:gd name="T32" fmla="*/ 0 w 530"/>
              <a:gd name="T33" fmla="*/ 0 h 530"/>
              <a:gd name="T34" fmla="*/ 0 w 530"/>
              <a:gd name="T35" fmla="*/ 476 h 530"/>
              <a:gd name="T36" fmla="*/ 0 w 530"/>
              <a:gd name="T37" fmla="*/ 529 h 530"/>
              <a:gd name="T38" fmla="*/ 53 w 530"/>
              <a:gd name="T39" fmla="*/ 529 h 530"/>
              <a:gd name="T40" fmla="*/ 529 w 530"/>
              <a:gd name="T41" fmla="*/ 529 h 530"/>
              <a:gd name="T42" fmla="*/ 529 w 530"/>
              <a:gd name="T43" fmla="*/ 476 h 530"/>
              <a:gd name="T44" fmla="*/ 476 w 530"/>
              <a:gd name="T45" fmla="*/ 476 h 530"/>
              <a:gd name="T46" fmla="*/ 476 w 530"/>
              <a:gd name="T47" fmla="*/ 449 h 530"/>
              <a:gd name="T48" fmla="*/ 423 w 530"/>
              <a:gd name="T49" fmla="*/ 449 h 530"/>
              <a:gd name="T50" fmla="*/ 423 w 530"/>
              <a:gd name="T51" fmla="*/ 476 h 530"/>
              <a:gd name="T52" fmla="*/ 370 w 530"/>
              <a:gd name="T53" fmla="*/ 476 h 530"/>
              <a:gd name="T54" fmla="*/ 370 w 530"/>
              <a:gd name="T55" fmla="*/ 449 h 530"/>
              <a:gd name="T56" fmla="*/ 317 w 530"/>
              <a:gd name="T57" fmla="*/ 449 h 530"/>
              <a:gd name="T58" fmla="*/ 317 w 530"/>
              <a:gd name="T59" fmla="*/ 476 h 530"/>
              <a:gd name="T60" fmla="*/ 264 w 530"/>
              <a:gd name="T61" fmla="*/ 476 h 530"/>
              <a:gd name="T62" fmla="*/ 264 w 530"/>
              <a:gd name="T63" fmla="*/ 449 h 530"/>
              <a:gd name="T64" fmla="*/ 211 w 530"/>
              <a:gd name="T65" fmla="*/ 449 h 530"/>
              <a:gd name="T66" fmla="*/ 211 w 530"/>
              <a:gd name="T67" fmla="*/ 476 h 530"/>
              <a:gd name="T68" fmla="*/ 158 w 530"/>
              <a:gd name="T69" fmla="*/ 476 h 530"/>
              <a:gd name="T70" fmla="*/ 158 w 530"/>
              <a:gd name="T71" fmla="*/ 449 h 530"/>
              <a:gd name="T72" fmla="*/ 105 w 530"/>
              <a:gd name="T73" fmla="*/ 449 h 530"/>
              <a:gd name="T74" fmla="*/ 105 w 530"/>
              <a:gd name="T75" fmla="*/ 476 h 530"/>
              <a:gd name="T76" fmla="*/ 53 w 530"/>
              <a:gd name="T77" fmla="*/ 476 h 530"/>
              <a:gd name="T78" fmla="*/ 53 w 530"/>
              <a:gd name="T79" fmla="*/ 423 h 530"/>
              <a:gd name="T80" fmla="*/ 79 w 530"/>
              <a:gd name="T81" fmla="*/ 423 h 530"/>
              <a:gd name="T82" fmla="*/ 79 w 530"/>
              <a:gd name="T83" fmla="*/ 370 h 530"/>
              <a:gd name="T84" fmla="*/ 53 w 530"/>
              <a:gd name="T85" fmla="*/ 370 h 530"/>
              <a:gd name="T86" fmla="*/ 53 w 530"/>
              <a:gd name="T87" fmla="*/ 329 h 530"/>
              <a:gd name="T88" fmla="*/ 210 w 530"/>
              <a:gd name="T89" fmla="*/ 195 h 530"/>
              <a:gd name="T90" fmla="*/ 291 w 530"/>
              <a:gd name="T91" fmla="*/ 275 h 530"/>
              <a:gd name="T92" fmla="*/ 476 w 530"/>
              <a:gd name="T93" fmla="*/ 90 h 530"/>
              <a:gd name="T94" fmla="*/ 476 w 530"/>
              <a:gd name="T95" fmla="*/ 159 h 530"/>
              <a:gd name="T96" fmla="*/ 529 w 530"/>
              <a:gd name="T97" fmla="*/ 159 h 530"/>
              <a:gd name="T98" fmla="*/ 529 w 530"/>
              <a:gd name="T99" fmla="*/ 53 h 530"/>
              <a:gd name="T100" fmla="*/ 529 w 530"/>
              <a:gd name="T101" fmla="*/ 0 h 530"/>
              <a:gd name="T102" fmla="*/ 476 w 530"/>
              <a:gd name="T103" fmla="*/ 0 h 5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30" h="530">
                <a:moveTo>
                  <a:pt x="476" y="0"/>
                </a:moveTo>
                <a:lnTo>
                  <a:pt x="370" y="0"/>
                </a:lnTo>
                <a:lnTo>
                  <a:pt x="370" y="53"/>
                </a:lnTo>
                <a:lnTo>
                  <a:pt x="438" y="53"/>
                </a:lnTo>
                <a:lnTo>
                  <a:pt x="291" y="201"/>
                </a:lnTo>
                <a:lnTo>
                  <a:pt x="213" y="123"/>
                </a:lnTo>
                <a:lnTo>
                  <a:pt x="53" y="260"/>
                </a:lnTo>
                <a:lnTo>
                  <a:pt x="53" y="212"/>
                </a:lnTo>
                <a:lnTo>
                  <a:pt x="79" y="212"/>
                </a:lnTo>
                <a:lnTo>
                  <a:pt x="79" y="159"/>
                </a:lnTo>
                <a:lnTo>
                  <a:pt x="53" y="159"/>
                </a:lnTo>
                <a:lnTo>
                  <a:pt x="53" y="106"/>
                </a:lnTo>
                <a:lnTo>
                  <a:pt x="79" y="106"/>
                </a:lnTo>
                <a:lnTo>
                  <a:pt x="79" y="53"/>
                </a:lnTo>
                <a:lnTo>
                  <a:pt x="53" y="53"/>
                </a:lnTo>
                <a:lnTo>
                  <a:pt x="53" y="0"/>
                </a:lnTo>
                <a:lnTo>
                  <a:pt x="0" y="0"/>
                </a:lnTo>
                <a:lnTo>
                  <a:pt x="0" y="476"/>
                </a:lnTo>
                <a:lnTo>
                  <a:pt x="0" y="529"/>
                </a:lnTo>
                <a:lnTo>
                  <a:pt x="53" y="529"/>
                </a:lnTo>
                <a:lnTo>
                  <a:pt x="529" y="529"/>
                </a:lnTo>
                <a:lnTo>
                  <a:pt x="529" y="476"/>
                </a:lnTo>
                <a:lnTo>
                  <a:pt x="476" y="476"/>
                </a:lnTo>
                <a:lnTo>
                  <a:pt x="476" y="449"/>
                </a:lnTo>
                <a:lnTo>
                  <a:pt x="423" y="449"/>
                </a:lnTo>
                <a:lnTo>
                  <a:pt x="423" y="476"/>
                </a:lnTo>
                <a:lnTo>
                  <a:pt x="370" y="476"/>
                </a:lnTo>
                <a:lnTo>
                  <a:pt x="370" y="449"/>
                </a:lnTo>
                <a:lnTo>
                  <a:pt x="317" y="449"/>
                </a:lnTo>
                <a:lnTo>
                  <a:pt x="317" y="476"/>
                </a:lnTo>
                <a:lnTo>
                  <a:pt x="264" y="476"/>
                </a:lnTo>
                <a:lnTo>
                  <a:pt x="264" y="449"/>
                </a:lnTo>
                <a:lnTo>
                  <a:pt x="211" y="449"/>
                </a:lnTo>
                <a:lnTo>
                  <a:pt x="211" y="476"/>
                </a:lnTo>
                <a:lnTo>
                  <a:pt x="158" y="476"/>
                </a:lnTo>
                <a:lnTo>
                  <a:pt x="158" y="449"/>
                </a:lnTo>
                <a:lnTo>
                  <a:pt x="105" y="449"/>
                </a:lnTo>
                <a:lnTo>
                  <a:pt x="105" y="476"/>
                </a:lnTo>
                <a:lnTo>
                  <a:pt x="53" y="476"/>
                </a:lnTo>
                <a:lnTo>
                  <a:pt x="53" y="423"/>
                </a:lnTo>
                <a:lnTo>
                  <a:pt x="79" y="423"/>
                </a:lnTo>
                <a:lnTo>
                  <a:pt x="79" y="370"/>
                </a:lnTo>
                <a:lnTo>
                  <a:pt x="53" y="370"/>
                </a:lnTo>
                <a:lnTo>
                  <a:pt x="53" y="329"/>
                </a:lnTo>
                <a:lnTo>
                  <a:pt x="210" y="195"/>
                </a:lnTo>
                <a:lnTo>
                  <a:pt x="291" y="275"/>
                </a:lnTo>
                <a:lnTo>
                  <a:pt x="476" y="90"/>
                </a:lnTo>
                <a:lnTo>
                  <a:pt x="476" y="159"/>
                </a:lnTo>
                <a:lnTo>
                  <a:pt x="529" y="159"/>
                </a:lnTo>
                <a:lnTo>
                  <a:pt x="529" y="53"/>
                </a:lnTo>
                <a:lnTo>
                  <a:pt x="529" y="0"/>
                </a:lnTo>
                <a:lnTo>
                  <a:pt x="476" y="0"/>
                </a:lnTo>
              </a:path>
            </a:pathLst>
          </a:custGeom>
          <a:solidFill>
            <a:schemeClr val="tx1">
              <a:alpha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19" name="Freeform 18">
            <a:extLst>
              <a:ext uri="{FF2B5EF4-FFF2-40B4-BE49-F238E27FC236}">
                <a16:creationId xmlns="" xmlns:a16="http://schemas.microsoft.com/office/drawing/2014/main" id="{6DB7D6C2-87CA-F34F-97FA-CB0EACD938A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46269" y="1153051"/>
            <a:ext cx="209191" cy="218716"/>
          </a:xfrm>
          <a:custGeom>
            <a:avLst/>
            <a:gdLst>
              <a:gd name="connsiteX0" fmla="*/ 47625 w 209191"/>
              <a:gd name="connsiteY0" fmla="*/ 200025 h 218716"/>
              <a:gd name="connsiteX1" fmla="*/ 161567 w 209191"/>
              <a:gd name="connsiteY1" fmla="*/ 200025 h 218716"/>
              <a:gd name="connsiteX2" fmla="*/ 161567 w 209191"/>
              <a:gd name="connsiteY2" fmla="*/ 218716 h 218716"/>
              <a:gd name="connsiteX3" fmla="*/ 104596 w 209191"/>
              <a:gd name="connsiteY3" fmla="*/ 218716 h 218716"/>
              <a:gd name="connsiteX4" fmla="*/ 47625 w 209191"/>
              <a:gd name="connsiteY4" fmla="*/ 218716 h 218716"/>
              <a:gd name="connsiteX5" fmla="*/ 85725 w 209191"/>
              <a:gd name="connsiteY5" fmla="*/ 171450 h 218716"/>
              <a:gd name="connsiteX6" fmla="*/ 123469 w 209191"/>
              <a:gd name="connsiteY6" fmla="*/ 171450 h 218716"/>
              <a:gd name="connsiteX7" fmla="*/ 123469 w 209191"/>
              <a:gd name="connsiteY7" fmla="*/ 190147 h 218716"/>
              <a:gd name="connsiteX8" fmla="*/ 104597 w 209191"/>
              <a:gd name="connsiteY8" fmla="*/ 190147 h 218716"/>
              <a:gd name="connsiteX9" fmla="*/ 85725 w 209191"/>
              <a:gd name="connsiteY9" fmla="*/ 190147 h 218716"/>
              <a:gd name="connsiteX10" fmla="*/ 171091 w 209191"/>
              <a:gd name="connsiteY10" fmla="*/ 47498 h 218716"/>
              <a:gd name="connsiteX11" fmla="*/ 164262 w 209191"/>
              <a:gd name="connsiteY11" fmla="*/ 99314 h 218716"/>
              <a:gd name="connsiteX12" fmla="*/ 190141 w 209191"/>
              <a:gd name="connsiteY12" fmla="*/ 47498 h 218716"/>
              <a:gd name="connsiteX13" fmla="*/ 19050 w 209191"/>
              <a:gd name="connsiteY13" fmla="*/ 47498 h 218716"/>
              <a:gd name="connsiteX14" fmla="*/ 44570 w 209191"/>
              <a:gd name="connsiteY14" fmla="*/ 99314 h 218716"/>
              <a:gd name="connsiteX15" fmla="*/ 38100 w 209191"/>
              <a:gd name="connsiteY15" fmla="*/ 47498 h 218716"/>
              <a:gd name="connsiteX16" fmla="*/ 57150 w 209191"/>
              <a:gd name="connsiteY16" fmla="*/ 19071 h 218716"/>
              <a:gd name="connsiteX17" fmla="*/ 57150 w 209191"/>
              <a:gd name="connsiteY17" fmla="*/ 37783 h 218716"/>
              <a:gd name="connsiteX18" fmla="*/ 56791 w 209191"/>
              <a:gd name="connsiteY18" fmla="*/ 42101 h 218716"/>
              <a:gd name="connsiteX19" fmla="*/ 65777 w 209191"/>
              <a:gd name="connsiteY19" fmla="*/ 104352 h 218716"/>
              <a:gd name="connsiteX20" fmla="*/ 66496 w 209191"/>
              <a:gd name="connsiteY20" fmla="*/ 104352 h 218716"/>
              <a:gd name="connsiteX21" fmla="*/ 66496 w 209191"/>
              <a:gd name="connsiteY21" fmla="*/ 105791 h 218716"/>
              <a:gd name="connsiteX22" fmla="*/ 104596 w 209191"/>
              <a:gd name="connsiteY22" fmla="*/ 142494 h 218716"/>
              <a:gd name="connsiteX23" fmla="*/ 142696 w 209191"/>
              <a:gd name="connsiteY23" fmla="*/ 106151 h 218716"/>
              <a:gd name="connsiteX24" fmla="*/ 142696 w 209191"/>
              <a:gd name="connsiteY24" fmla="*/ 104352 h 218716"/>
              <a:gd name="connsiteX25" fmla="*/ 143055 w 209191"/>
              <a:gd name="connsiteY25" fmla="*/ 104352 h 218716"/>
              <a:gd name="connsiteX26" fmla="*/ 152041 w 209191"/>
              <a:gd name="connsiteY26" fmla="*/ 42101 h 218716"/>
              <a:gd name="connsiteX27" fmla="*/ 152041 w 209191"/>
              <a:gd name="connsiteY27" fmla="*/ 37783 h 218716"/>
              <a:gd name="connsiteX28" fmla="*/ 152041 w 209191"/>
              <a:gd name="connsiteY28" fmla="*/ 19071 h 218716"/>
              <a:gd name="connsiteX29" fmla="*/ 38100 w 209191"/>
              <a:gd name="connsiteY29" fmla="*/ 0 h 218716"/>
              <a:gd name="connsiteX30" fmla="*/ 171091 w 209191"/>
              <a:gd name="connsiteY30" fmla="*/ 0 h 218716"/>
              <a:gd name="connsiteX31" fmla="*/ 171091 w 209191"/>
              <a:gd name="connsiteY31" fmla="*/ 28427 h 218716"/>
              <a:gd name="connsiteX32" fmla="*/ 209191 w 209191"/>
              <a:gd name="connsiteY32" fmla="*/ 28427 h 218716"/>
              <a:gd name="connsiteX33" fmla="*/ 209191 w 209191"/>
              <a:gd name="connsiteY33" fmla="*/ 37783 h 218716"/>
              <a:gd name="connsiteX34" fmla="*/ 156713 w 209191"/>
              <a:gd name="connsiteY34" fmla="*/ 121984 h 218716"/>
              <a:gd name="connsiteX35" fmla="*/ 104596 w 209191"/>
              <a:gd name="connsiteY35" fmla="*/ 161565 h 218716"/>
              <a:gd name="connsiteX36" fmla="*/ 52478 w 209191"/>
              <a:gd name="connsiteY36" fmla="*/ 121984 h 218716"/>
              <a:gd name="connsiteX37" fmla="*/ 0 w 209191"/>
              <a:gd name="connsiteY37" fmla="*/ 37783 h 218716"/>
              <a:gd name="connsiteX38" fmla="*/ 0 w 209191"/>
              <a:gd name="connsiteY38" fmla="*/ 28427 h 218716"/>
              <a:gd name="connsiteX39" fmla="*/ 38100 w 209191"/>
              <a:gd name="connsiteY39" fmla="*/ 28427 h 218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09191" h="218716">
                <a:moveTo>
                  <a:pt x="47625" y="200025"/>
                </a:moveTo>
                <a:lnTo>
                  <a:pt x="161567" y="200025"/>
                </a:lnTo>
                <a:lnTo>
                  <a:pt x="161567" y="218716"/>
                </a:lnTo>
                <a:lnTo>
                  <a:pt x="104596" y="218716"/>
                </a:lnTo>
                <a:lnTo>
                  <a:pt x="47625" y="218716"/>
                </a:lnTo>
                <a:close/>
                <a:moveTo>
                  <a:pt x="85725" y="171450"/>
                </a:moveTo>
                <a:lnTo>
                  <a:pt x="123469" y="171450"/>
                </a:lnTo>
                <a:lnTo>
                  <a:pt x="123469" y="190147"/>
                </a:lnTo>
                <a:lnTo>
                  <a:pt x="104597" y="190147"/>
                </a:lnTo>
                <a:lnTo>
                  <a:pt x="85725" y="190147"/>
                </a:lnTo>
                <a:close/>
                <a:moveTo>
                  <a:pt x="171091" y="47498"/>
                </a:moveTo>
                <a:cubicBezTo>
                  <a:pt x="170731" y="65850"/>
                  <a:pt x="168575" y="81322"/>
                  <a:pt x="164262" y="99314"/>
                </a:cubicBezTo>
                <a:cubicBezTo>
                  <a:pt x="182233" y="89958"/>
                  <a:pt x="188344" y="68368"/>
                  <a:pt x="190141" y="47498"/>
                </a:cubicBezTo>
                <a:close/>
                <a:moveTo>
                  <a:pt x="19050" y="47498"/>
                </a:moveTo>
                <a:cubicBezTo>
                  <a:pt x="20488" y="68368"/>
                  <a:pt x="26598" y="89958"/>
                  <a:pt x="44570" y="99314"/>
                </a:cubicBezTo>
                <a:cubicBezTo>
                  <a:pt x="40257" y="81322"/>
                  <a:pt x="38460" y="65850"/>
                  <a:pt x="38100" y="47498"/>
                </a:cubicBezTo>
                <a:close/>
                <a:moveTo>
                  <a:pt x="57150" y="19071"/>
                </a:moveTo>
                <a:lnTo>
                  <a:pt x="57150" y="37783"/>
                </a:lnTo>
                <a:cubicBezTo>
                  <a:pt x="56791" y="39582"/>
                  <a:pt x="56791" y="40661"/>
                  <a:pt x="56791" y="42101"/>
                </a:cubicBezTo>
                <a:cubicBezTo>
                  <a:pt x="56791" y="64410"/>
                  <a:pt x="59666" y="83122"/>
                  <a:pt x="65777" y="104352"/>
                </a:cubicBezTo>
                <a:lnTo>
                  <a:pt x="66496" y="104352"/>
                </a:lnTo>
                <a:lnTo>
                  <a:pt x="66496" y="105791"/>
                </a:lnTo>
                <a:cubicBezTo>
                  <a:pt x="74044" y="127381"/>
                  <a:pt x="85905" y="142494"/>
                  <a:pt x="104596" y="142494"/>
                </a:cubicBezTo>
                <a:cubicBezTo>
                  <a:pt x="122927" y="142494"/>
                  <a:pt x="135147" y="127381"/>
                  <a:pt x="142696" y="106151"/>
                </a:cubicBezTo>
                <a:lnTo>
                  <a:pt x="142696" y="104352"/>
                </a:lnTo>
                <a:lnTo>
                  <a:pt x="143055" y="104352"/>
                </a:lnTo>
                <a:cubicBezTo>
                  <a:pt x="149525" y="83122"/>
                  <a:pt x="152041" y="64410"/>
                  <a:pt x="152041" y="42101"/>
                </a:cubicBezTo>
                <a:cubicBezTo>
                  <a:pt x="152041" y="40661"/>
                  <a:pt x="152041" y="39582"/>
                  <a:pt x="152041" y="37783"/>
                </a:cubicBezTo>
                <a:lnTo>
                  <a:pt x="152041" y="19071"/>
                </a:lnTo>
                <a:close/>
                <a:moveTo>
                  <a:pt x="38100" y="0"/>
                </a:moveTo>
                <a:lnTo>
                  <a:pt x="171091" y="0"/>
                </a:lnTo>
                <a:lnTo>
                  <a:pt x="171091" y="28427"/>
                </a:lnTo>
                <a:lnTo>
                  <a:pt x="209191" y="28427"/>
                </a:lnTo>
                <a:lnTo>
                  <a:pt x="209191" y="37783"/>
                </a:lnTo>
                <a:cubicBezTo>
                  <a:pt x="209191" y="85640"/>
                  <a:pt x="190141" y="115507"/>
                  <a:pt x="156713" y="121984"/>
                </a:cubicBezTo>
                <a:cubicBezTo>
                  <a:pt x="145212" y="147532"/>
                  <a:pt x="127599" y="161565"/>
                  <a:pt x="104596" y="161565"/>
                </a:cubicBezTo>
                <a:cubicBezTo>
                  <a:pt x="81592" y="161565"/>
                  <a:pt x="63620" y="147532"/>
                  <a:pt x="52478" y="121984"/>
                </a:cubicBezTo>
                <a:cubicBezTo>
                  <a:pt x="19050" y="115507"/>
                  <a:pt x="0" y="85640"/>
                  <a:pt x="0" y="37783"/>
                </a:cubicBezTo>
                <a:lnTo>
                  <a:pt x="0" y="28427"/>
                </a:lnTo>
                <a:lnTo>
                  <a:pt x="38100" y="28427"/>
                </a:lnTo>
                <a:close/>
              </a:path>
            </a:pathLst>
          </a:custGeom>
          <a:solidFill>
            <a:schemeClr val="tx1">
              <a:alpha val="80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ru-RU"/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11C67236-0E97-4A8C-9FD3-E6728109A07B}"/>
              </a:ext>
            </a:extLst>
          </p:cNvPr>
          <p:cNvSpPr txBox="1"/>
          <p:nvPr userDrawn="1"/>
        </p:nvSpPr>
        <p:spPr>
          <a:xfrm>
            <a:off x="11500581" y="6547344"/>
            <a:ext cx="5397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46E38A9C-1233-5B4D-A1AE-A7549B261D49}" type="slidenum">
              <a:rPr lang="en-US" sz="1200" smtClean="0">
                <a:solidFill>
                  <a:schemeClr val="tx1">
                    <a:alpha val="68000"/>
                  </a:schemeClr>
                </a:solidFill>
              </a:rPr>
              <a:pPr algn="ctr"/>
              <a:t>‹#›</a:t>
            </a:fld>
            <a:endParaRPr lang="en-US" sz="1200" dirty="0">
              <a:solidFill>
                <a:schemeClr val="tx1">
                  <a:alpha val="68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46560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1219200" y="1447800"/>
            <a:ext cx="10363200" cy="4572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>
          <a:xfrm>
            <a:off x="8229600" y="6191250"/>
            <a:ext cx="33020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462F98-52E0-43C7-95E3-ADC690556D6B}" type="datetimeFigureOut">
              <a:rPr lang="ru-RU"/>
              <a:pPr>
                <a:defRPr/>
              </a:pPr>
              <a:t>08.04.2021</a:t>
            </a:fld>
            <a:endParaRPr lang="ru-RU" dirty="0"/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1219200" y="6172200"/>
            <a:ext cx="52832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>
          <a:xfrm>
            <a:off x="194733" y="6210300"/>
            <a:ext cx="609600" cy="4572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8967AF-66C8-4A94-9E5A-E6AC94D4ABE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930947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главление">
    <p:bg>
      <p:bgPr>
        <a:solidFill>
          <a:srgbClr val="D3D9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6">
            <a:extLst>
              <a:ext uri="{FF2B5EF4-FFF2-40B4-BE49-F238E27FC236}">
                <a16:creationId xmlns="" xmlns:a16="http://schemas.microsoft.com/office/drawing/2014/main" id="{009EE521-754B-DE4A-9024-8CB5893D4916}"/>
              </a:ext>
            </a:extLst>
          </p:cNvPr>
          <p:cNvSpPr/>
          <p:nvPr userDrawn="1"/>
        </p:nvSpPr>
        <p:spPr>
          <a:xfrm>
            <a:off x="-1115123" y="3590724"/>
            <a:ext cx="13652811" cy="3579316"/>
          </a:xfrm>
          <a:custGeom>
            <a:avLst/>
            <a:gdLst>
              <a:gd name="connsiteX0" fmla="*/ 0 w 12192000"/>
              <a:gd name="connsiteY0" fmla="*/ 0 h 769434"/>
              <a:gd name="connsiteX1" fmla="*/ 12192000 w 12192000"/>
              <a:gd name="connsiteY1" fmla="*/ 0 h 769434"/>
              <a:gd name="connsiteX2" fmla="*/ 12192000 w 12192000"/>
              <a:gd name="connsiteY2" fmla="*/ 769434 h 769434"/>
              <a:gd name="connsiteX3" fmla="*/ 0 w 12192000"/>
              <a:gd name="connsiteY3" fmla="*/ 769434 h 769434"/>
              <a:gd name="connsiteX4" fmla="*/ 0 w 12192000"/>
              <a:gd name="connsiteY4" fmla="*/ 0 h 769434"/>
              <a:gd name="connsiteX0" fmla="*/ 0 w 12192000"/>
              <a:gd name="connsiteY0" fmla="*/ 0 h 769434"/>
              <a:gd name="connsiteX1" fmla="*/ 7560527 w 12192000"/>
              <a:gd name="connsiteY1" fmla="*/ 12120 h 769434"/>
              <a:gd name="connsiteX2" fmla="*/ 12192000 w 12192000"/>
              <a:gd name="connsiteY2" fmla="*/ 0 h 769434"/>
              <a:gd name="connsiteX3" fmla="*/ 12192000 w 12192000"/>
              <a:gd name="connsiteY3" fmla="*/ 769434 h 769434"/>
              <a:gd name="connsiteX4" fmla="*/ 0 w 12192000"/>
              <a:gd name="connsiteY4" fmla="*/ 769434 h 769434"/>
              <a:gd name="connsiteX5" fmla="*/ 0 w 12192000"/>
              <a:gd name="connsiteY5" fmla="*/ 0 h 769434"/>
              <a:gd name="connsiteX0" fmla="*/ 0 w 12192000"/>
              <a:gd name="connsiteY0" fmla="*/ 0 h 769434"/>
              <a:gd name="connsiteX1" fmla="*/ 7560527 w 12192000"/>
              <a:gd name="connsiteY1" fmla="*/ 12120 h 769434"/>
              <a:gd name="connsiteX2" fmla="*/ 9623502 w 12192000"/>
              <a:gd name="connsiteY2" fmla="*/ 969 h 769434"/>
              <a:gd name="connsiteX3" fmla="*/ 12192000 w 12192000"/>
              <a:gd name="connsiteY3" fmla="*/ 0 h 769434"/>
              <a:gd name="connsiteX4" fmla="*/ 12192000 w 12192000"/>
              <a:gd name="connsiteY4" fmla="*/ 769434 h 769434"/>
              <a:gd name="connsiteX5" fmla="*/ 0 w 12192000"/>
              <a:gd name="connsiteY5" fmla="*/ 769434 h 769434"/>
              <a:gd name="connsiteX6" fmla="*/ 0 w 12192000"/>
              <a:gd name="connsiteY6" fmla="*/ 0 h 769434"/>
              <a:gd name="connsiteX0" fmla="*/ 0 w 12192000"/>
              <a:gd name="connsiteY0" fmla="*/ 0 h 769434"/>
              <a:gd name="connsiteX1" fmla="*/ 4025590 w 12192000"/>
              <a:gd name="connsiteY1" fmla="*/ 23271 h 769434"/>
              <a:gd name="connsiteX2" fmla="*/ 7560527 w 12192000"/>
              <a:gd name="connsiteY2" fmla="*/ 12120 h 769434"/>
              <a:gd name="connsiteX3" fmla="*/ 9623502 w 12192000"/>
              <a:gd name="connsiteY3" fmla="*/ 969 h 769434"/>
              <a:gd name="connsiteX4" fmla="*/ 12192000 w 12192000"/>
              <a:gd name="connsiteY4" fmla="*/ 0 h 769434"/>
              <a:gd name="connsiteX5" fmla="*/ 12192000 w 12192000"/>
              <a:gd name="connsiteY5" fmla="*/ 769434 h 769434"/>
              <a:gd name="connsiteX6" fmla="*/ 0 w 12192000"/>
              <a:gd name="connsiteY6" fmla="*/ 769434 h 769434"/>
              <a:gd name="connsiteX7" fmla="*/ 0 w 12192000"/>
              <a:gd name="connsiteY7" fmla="*/ 0 h 769434"/>
              <a:gd name="connsiteX0" fmla="*/ 0 w 12192000"/>
              <a:gd name="connsiteY0" fmla="*/ 0 h 769434"/>
              <a:gd name="connsiteX1" fmla="*/ 4025590 w 12192000"/>
              <a:gd name="connsiteY1" fmla="*/ 23271 h 769434"/>
              <a:gd name="connsiteX2" fmla="*/ 5564459 w 12192000"/>
              <a:gd name="connsiteY2" fmla="*/ 34423 h 769434"/>
              <a:gd name="connsiteX3" fmla="*/ 7560527 w 12192000"/>
              <a:gd name="connsiteY3" fmla="*/ 12120 h 769434"/>
              <a:gd name="connsiteX4" fmla="*/ 9623502 w 12192000"/>
              <a:gd name="connsiteY4" fmla="*/ 969 h 769434"/>
              <a:gd name="connsiteX5" fmla="*/ 12192000 w 12192000"/>
              <a:gd name="connsiteY5" fmla="*/ 0 h 769434"/>
              <a:gd name="connsiteX6" fmla="*/ 12192000 w 12192000"/>
              <a:gd name="connsiteY6" fmla="*/ 769434 h 769434"/>
              <a:gd name="connsiteX7" fmla="*/ 0 w 12192000"/>
              <a:gd name="connsiteY7" fmla="*/ 769434 h 769434"/>
              <a:gd name="connsiteX8" fmla="*/ 0 w 12192000"/>
              <a:gd name="connsiteY8" fmla="*/ 0 h 769434"/>
              <a:gd name="connsiteX0" fmla="*/ 0 w 12214303"/>
              <a:gd name="connsiteY0" fmla="*/ 2107581 h 2877015"/>
              <a:gd name="connsiteX1" fmla="*/ 4025590 w 12214303"/>
              <a:gd name="connsiteY1" fmla="*/ 2130852 h 2877015"/>
              <a:gd name="connsiteX2" fmla="*/ 5564459 w 12214303"/>
              <a:gd name="connsiteY2" fmla="*/ 2142004 h 2877015"/>
              <a:gd name="connsiteX3" fmla="*/ 7560527 w 12214303"/>
              <a:gd name="connsiteY3" fmla="*/ 2119701 h 2877015"/>
              <a:gd name="connsiteX4" fmla="*/ 9623502 w 12214303"/>
              <a:gd name="connsiteY4" fmla="*/ 2108550 h 2877015"/>
              <a:gd name="connsiteX5" fmla="*/ 12214303 w 12214303"/>
              <a:gd name="connsiteY5" fmla="*/ 0 h 2877015"/>
              <a:gd name="connsiteX6" fmla="*/ 12192000 w 12214303"/>
              <a:gd name="connsiteY6" fmla="*/ 2877015 h 2877015"/>
              <a:gd name="connsiteX7" fmla="*/ 0 w 12214303"/>
              <a:gd name="connsiteY7" fmla="*/ 2877015 h 2877015"/>
              <a:gd name="connsiteX8" fmla="*/ 0 w 12214303"/>
              <a:gd name="connsiteY8" fmla="*/ 2107581 h 2877015"/>
              <a:gd name="connsiteX0" fmla="*/ 0 w 12214303"/>
              <a:gd name="connsiteY0" fmla="*/ 2107581 h 2877015"/>
              <a:gd name="connsiteX1" fmla="*/ 4025590 w 12214303"/>
              <a:gd name="connsiteY1" fmla="*/ 2130852 h 2877015"/>
              <a:gd name="connsiteX2" fmla="*/ 5564459 w 12214303"/>
              <a:gd name="connsiteY2" fmla="*/ 2142004 h 2877015"/>
              <a:gd name="connsiteX3" fmla="*/ 7560527 w 12214303"/>
              <a:gd name="connsiteY3" fmla="*/ 2119701 h 2877015"/>
              <a:gd name="connsiteX4" fmla="*/ 9645805 w 12214303"/>
              <a:gd name="connsiteY4" fmla="*/ 1261057 h 2877015"/>
              <a:gd name="connsiteX5" fmla="*/ 12214303 w 12214303"/>
              <a:gd name="connsiteY5" fmla="*/ 0 h 2877015"/>
              <a:gd name="connsiteX6" fmla="*/ 12192000 w 12214303"/>
              <a:gd name="connsiteY6" fmla="*/ 2877015 h 2877015"/>
              <a:gd name="connsiteX7" fmla="*/ 0 w 12214303"/>
              <a:gd name="connsiteY7" fmla="*/ 2877015 h 2877015"/>
              <a:gd name="connsiteX8" fmla="*/ 0 w 12214303"/>
              <a:gd name="connsiteY8" fmla="*/ 2107581 h 2877015"/>
              <a:gd name="connsiteX0" fmla="*/ 0 w 12214303"/>
              <a:gd name="connsiteY0" fmla="*/ 2147260 h 2916694"/>
              <a:gd name="connsiteX1" fmla="*/ 4025590 w 12214303"/>
              <a:gd name="connsiteY1" fmla="*/ 2170531 h 2916694"/>
              <a:gd name="connsiteX2" fmla="*/ 5564459 w 12214303"/>
              <a:gd name="connsiteY2" fmla="*/ 2181683 h 2916694"/>
              <a:gd name="connsiteX3" fmla="*/ 7560527 w 12214303"/>
              <a:gd name="connsiteY3" fmla="*/ 2159380 h 2916694"/>
              <a:gd name="connsiteX4" fmla="*/ 9645805 w 12214303"/>
              <a:gd name="connsiteY4" fmla="*/ 1300736 h 2916694"/>
              <a:gd name="connsiteX5" fmla="*/ 12214303 w 12214303"/>
              <a:gd name="connsiteY5" fmla="*/ 39679 h 2916694"/>
              <a:gd name="connsiteX6" fmla="*/ 12192000 w 12214303"/>
              <a:gd name="connsiteY6" fmla="*/ 2916694 h 2916694"/>
              <a:gd name="connsiteX7" fmla="*/ 0 w 12214303"/>
              <a:gd name="connsiteY7" fmla="*/ 2916694 h 2916694"/>
              <a:gd name="connsiteX8" fmla="*/ 0 w 12214303"/>
              <a:gd name="connsiteY8" fmla="*/ 2147260 h 2916694"/>
              <a:gd name="connsiteX0" fmla="*/ 0 w 12214303"/>
              <a:gd name="connsiteY0" fmla="*/ 2141981 h 2911415"/>
              <a:gd name="connsiteX1" fmla="*/ 4025590 w 12214303"/>
              <a:gd name="connsiteY1" fmla="*/ 2165252 h 2911415"/>
              <a:gd name="connsiteX2" fmla="*/ 5564459 w 12214303"/>
              <a:gd name="connsiteY2" fmla="*/ 2176404 h 2911415"/>
              <a:gd name="connsiteX3" fmla="*/ 7627435 w 12214303"/>
              <a:gd name="connsiteY3" fmla="*/ 838257 h 2911415"/>
              <a:gd name="connsiteX4" fmla="*/ 9645805 w 12214303"/>
              <a:gd name="connsiteY4" fmla="*/ 1295457 h 2911415"/>
              <a:gd name="connsiteX5" fmla="*/ 12214303 w 12214303"/>
              <a:gd name="connsiteY5" fmla="*/ 34400 h 2911415"/>
              <a:gd name="connsiteX6" fmla="*/ 12192000 w 12214303"/>
              <a:gd name="connsiteY6" fmla="*/ 2911415 h 2911415"/>
              <a:gd name="connsiteX7" fmla="*/ 0 w 12214303"/>
              <a:gd name="connsiteY7" fmla="*/ 2911415 h 2911415"/>
              <a:gd name="connsiteX8" fmla="*/ 0 w 12214303"/>
              <a:gd name="connsiteY8" fmla="*/ 2141981 h 2911415"/>
              <a:gd name="connsiteX0" fmla="*/ 0 w 12214303"/>
              <a:gd name="connsiteY0" fmla="*/ 2141981 h 2911415"/>
              <a:gd name="connsiteX1" fmla="*/ 4025590 w 12214303"/>
              <a:gd name="connsiteY1" fmla="*/ 2165252 h 2911415"/>
              <a:gd name="connsiteX2" fmla="*/ 5564459 w 12214303"/>
              <a:gd name="connsiteY2" fmla="*/ 2176404 h 2911415"/>
              <a:gd name="connsiteX3" fmla="*/ 7627435 w 12214303"/>
              <a:gd name="connsiteY3" fmla="*/ 838257 h 2911415"/>
              <a:gd name="connsiteX4" fmla="*/ 9645805 w 12214303"/>
              <a:gd name="connsiteY4" fmla="*/ 1295457 h 2911415"/>
              <a:gd name="connsiteX5" fmla="*/ 12214303 w 12214303"/>
              <a:gd name="connsiteY5" fmla="*/ 34400 h 2911415"/>
              <a:gd name="connsiteX6" fmla="*/ 12192000 w 12214303"/>
              <a:gd name="connsiteY6" fmla="*/ 2911415 h 2911415"/>
              <a:gd name="connsiteX7" fmla="*/ 0 w 12214303"/>
              <a:gd name="connsiteY7" fmla="*/ 2911415 h 2911415"/>
              <a:gd name="connsiteX8" fmla="*/ 0 w 12214303"/>
              <a:gd name="connsiteY8" fmla="*/ 2141981 h 2911415"/>
              <a:gd name="connsiteX0" fmla="*/ 0 w 12214303"/>
              <a:gd name="connsiteY0" fmla="*/ 2141981 h 2911415"/>
              <a:gd name="connsiteX1" fmla="*/ 4025590 w 12214303"/>
              <a:gd name="connsiteY1" fmla="*/ 2165252 h 2911415"/>
              <a:gd name="connsiteX2" fmla="*/ 5564459 w 12214303"/>
              <a:gd name="connsiteY2" fmla="*/ 2176404 h 2911415"/>
              <a:gd name="connsiteX3" fmla="*/ 7627435 w 12214303"/>
              <a:gd name="connsiteY3" fmla="*/ 838257 h 2911415"/>
              <a:gd name="connsiteX4" fmla="*/ 9645805 w 12214303"/>
              <a:gd name="connsiteY4" fmla="*/ 1295457 h 2911415"/>
              <a:gd name="connsiteX5" fmla="*/ 12214303 w 12214303"/>
              <a:gd name="connsiteY5" fmla="*/ 34400 h 2911415"/>
              <a:gd name="connsiteX6" fmla="*/ 12192000 w 12214303"/>
              <a:gd name="connsiteY6" fmla="*/ 2911415 h 2911415"/>
              <a:gd name="connsiteX7" fmla="*/ 0 w 12214303"/>
              <a:gd name="connsiteY7" fmla="*/ 2911415 h 2911415"/>
              <a:gd name="connsiteX8" fmla="*/ 0 w 12214303"/>
              <a:gd name="connsiteY8" fmla="*/ 2141981 h 2911415"/>
              <a:gd name="connsiteX0" fmla="*/ 0 w 12214303"/>
              <a:gd name="connsiteY0" fmla="*/ 2107581 h 2877015"/>
              <a:gd name="connsiteX1" fmla="*/ 4025590 w 12214303"/>
              <a:gd name="connsiteY1" fmla="*/ 2130852 h 2877015"/>
              <a:gd name="connsiteX2" fmla="*/ 5564459 w 12214303"/>
              <a:gd name="connsiteY2" fmla="*/ 2142004 h 2877015"/>
              <a:gd name="connsiteX3" fmla="*/ 7627435 w 12214303"/>
              <a:gd name="connsiteY3" fmla="*/ 803857 h 2877015"/>
              <a:gd name="connsiteX4" fmla="*/ 9645805 w 12214303"/>
              <a:gd name="connsiteY4" fmla="*/ 1261057 h 2877015"/>
              <a:gd name="connsiteX5" fmla="*/ 12214303 w 12214303"/>
              <a:gd name="connsiteY5" fmla="*/ 0 h 2877015"/>
              <a:gd name="connsiteX6" fmla="*/ 12192000 w 12214303"/>
              <a:gd name="connsiteY6" fmla="*/ 2877015 h 2877015"/>
              <a:gd name="connsiteX7" fmla="*/ 0 w 12214303"/>
              <a:gd name="connsiteY7" fmla="*/ 2877015 h 2877015"/>
              <a:gd name="connsiteX8" fmla="*/ 0 w 12214303"/>
              <a:gd name="connsiteY8" fmla="*/ 2107581 h 2877015"/>
              <a:gd name="connsiteX0" fmla="*/ 0 w 12236605"/>
              <a:gd name="connsiteY0" fmla="*/ 2854712 h 3624146"/>
              <a:gd name="connsiteX1" fmla="*/ 4025590 w 12236605"/>
              <a:gd name="connsiteY1" fmla="*/ 2877983 h 3624146"/>
              <a:gd name="connsiteX2" fmla="*/ 5564459 w 12236605"/>
              <a:gd name="connsiteY2" fmla="*/ 2889135 h 3624146"/>
              <a:gd name="connsiteX3" fmla="*/ 7627435 w 12236605"/>
              <a:gd name="connsiteY3" fmla="*/ 1550988 h 3624146"/>
              <a:gd name="connsiteX4" fmla="*/ 9645805 w 12236605"/>
              <a:gd name="connsiteY4" fmla="*/ 2008188 h 3624146"/>
              <a:gd name="connsiteX5" fmla="*/ 12236605 w 12236605"/>
              <a:gd name="connsiteY5" fmla="*/ 0 h 3624146"/>
              <a:gd name="connsiteX6" fmla="*/ 12192000 w 12236605"/>
              <a:gd name="connsiteY6" fmla="*/ 3624146 h 3624146"/>
              <a:gd name="connsiteX7" fmla="*/ 0 w 12236605"/>
              <a:gd name="connsiteY7" fmla="*/ 3624146 h 3624146"/>
              <a:gd name="connsiteX8" fmla="*/ 0 w 12236605"/>
              <a:gd name="connsiteY8" fmla="*/ 2854712 h 3624146"/>
              <a:gd name="connsiteX0" fmla="*/ 0 w 12270059"/>
              <a:gd name="connsiteY0" fmla="*/ 2854712 h 3691053"/>
              <a:gd name="connsiteX1" fmla="*/ 4025590 w 12270059"/>
              <a:gd name="connsiteY1" fmla="*/ 2877983 h 3691053"/>
              <a:gd name="connsiteX2" fmla="*/ 5564459 w 12270059"/>
              <a:gd name="connsiteY2" fmla="*/ 2889135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2854712 h 3691053"/>
              <a:gd name="connsiteX0" fmla="*/ 0 w 12270059"/>
              <a:gd name="connsiteY0" fmla="*/ 2854712 h 3691053"/>
              <a:gd name="connsiteX1" fmla="*/ 3914078 w 12270059"/>
              <a:gd name="connsiteY1" fmla="*/ 3167915 h 3691053"/>
              <a:gd name="connsiteX2" fmla="*/ 5564459 w 12270059"/>
              <a:gd name="connsiteY2" fmla="*/ 2889135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2854712 h 3691053"/>
              <a:gd name="connsiteX0" fmla="*/ 0 w 12270059"/>
              <a:gd name="connsiteY0" fmla="*/ 2854712 h 3691053"/>
              <a:gd name="connsiteX1" fmla="*/ 3958683 w 12270059"/>
              <a:gd name="connsiteY1" fmla="*/ 2877983 h 3691053"/>
              <a:gd name="connsiteX2" fmla="*/ 5564459 w 12270059"/>
              <a:gd name="connsiteY2" fmla="*/ 2889135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2854712 h 3691053"/>
              <a:gd name="connsiteX0" fmla="*/ 0 w 12270059"/>
              <a:gd name="connsiteY0" fmla="*/ 2854712 h 3691053"/>
              <a:gd name="connsiteX1" fmla="*/ 3958683 w 12270059"/>
              <a:gd name="connsiteY1" fmla="*/ 2877983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2854712 h 3691053"/>
              <a:gd name="connsiteX0" fmla="*/ 0 w 12270059"/>
              <a:gd name="connsiteY0" fmla="*/ 2854712 h 3691053"/>
              <a:gd name="connsiteX1" fmla="*/ 3958683 w 12270059"/>
              <a:gd name="connsiteY1" fmla="*/ 2877983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2854712 h 3691053"/>
              <a:gd name="connsiteX0" fmla="*/ 0 w 12270059"/>
              <a:gd name="connsiteY0" fmla="*/ 3189249 h 3691053"/>
              <a:gd name="connsiteX1" fmla="*/ 3958683 w 12270059"/>
              <a:gd name="connsiteY1" fmla="*/ 2877983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3958683 w 12270059"/>
              <a:gd name="connsiteY1" fmla="*/ 2877983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627435 w 12270059"/>
              <a:gd name="connsiteY3" fmla="*/ 1550988 h 3691053"/>
              <a:gd name="connsiteX4" fmla="*/ 9813073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627435 w 12270059"/>
              <a:gd name="connsiteY3" fmla="*/ 1550988 h 3691053"/>
              <a:gd name="connsiteX4" fmla="*/ 9813073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627435 w 12270059"/>
              <a:gd name="connsiteY3" fmla="*/ 1550988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828157 w 12270059"/>
              <a:gd name="connsiteY3" fmla="*/ 1428324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828157 w 12270059"/>
              <a:gd name="connsiteY3" fmla="*/ 1428324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460488 w 12270059"/>
              <a:gd name="connsiteY1" fmla="*/ 2889134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460488 w 12270059"/>
              <a:gd name="connsiteY1" fmla="*/ 2889134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650059 w 12270059"/>
              <a:gd name="connsiteY1" fmla="*/ 2933738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11151 w 12270059"/>
              <a:gd name="connsiteY0" fmla="*/ 3334215 h 3691053"/>
              <a:gd name="connsiteX1" fmla="*/ 4650059 w 12270059"/>
              <a:gd name="connsiteY1" fmla="*/ 2933738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11151 w 12270059"/>
              <a:gd name="connsiteY8" fmla="*/ 3334215 h 3691053"/>
              <a:gd name="connsiteX0" fmla="*/ 11151 w 12247756"/>
              <a:gd name="connsiteY0" fmla="*/ 3334215 h 4125951"/>
              <a:gd name="connsiteX1" fmla="*/ 4650059 w 12247756"/>
              <a:gd name="connsiteY1" fmla="*/ 2933738 h 4125951"/>
              <a:gd name="connsiteX2" fmla="*/ 6055113 w 12247756"/>
              <a:gd name="connsiteY2" fmla="*/ 3112160 h 4125951"/>
              <a:gd name="connsiteX3" fmla="*/ 7984274 w 12247756"/>
              <a:gd name="connsiteY3" fmla="*/ 1417173 h 4125951"/>
              <a:gd name="connsiteX4" fmla="*/ 9913434 w 12247756"/>
              <a:gd name="connsiteY4" fmla="*/ 2019339 h 4125951"/>
              <a:gd name="connsiteX5" fmla="*/ 12236605 w 12247756"/>
              <a:gd name="connsiteY5" fmla="*/ 0 h 4125951"/>
              <a:gd name="connsiteX6" fmla="*/ 12247756 w 12247756"/>
              <a:gd name="connsiteY6" fmla="*/ 4125951 h 4125951"/>
              <a:gd name="connsiteX7" fmla="*/ 0 w 12247756"/>
              <a:gd name="connsiteY7" fmla="*/ 3624146 h 4125951"/>
              <a:gd name="connsiteX8" fmla="*/ 11151 w 12247756"/>
              <a:gd name="connsiteY8" fmla="*/ 3334215 h 4125951"/>
              <a:gd name="connsiteX0" fmla="*/ 0 w 12236605"/>
              <a:gd name="connsiteY0" fmla="*/ 3334215 h 4226312"/>
              <a:gd name="connsiteX1" fmla="*/ 4638908 w 12236605"/>
              <a:gd name="connsiteY1" fmla="*/ 2933738 h 4226312"/>
              <a:gd name="connsiteX2" fmla="*/ 6043962 w 12236605"/>
              <a:gd name="connsiteY2" fmla="*/ 3112160 h 4226312"/>
              <a:gd name="connsiteX3" fmla="*/ 7973123 w 12236605"/>
              <a:gd name="connsiteY3" fmla="*/ 1417173 h 4226312"/>
              <a:gd name="connsiteX4" fmla="*/ 9902283 w 12236605"/>
              <a:gd name="connsiteY4" fmla="*/ 2019339 h 4226312"/>
              <a:gd name="connsiteX5" fmla="*/ 12225454 w 12236605"/>
              <a:gd name="connsiteY5" fmla="*/ 0 h 4226312"/>
              <a:gd name="connsiteX6" fmla="*/ 12236605 w 12236605"/>
              <a:gd name="connsiteY6" fmla="*/ 4125951 h 4226312"/>
              <a:gd name="connsiteX7" fmla="*/ 11151 w 12236605"/>
              <a:gd name="connsiteY7" fmla="*/ 4226312 h 4226312"/>
              <a:gd name="connsiteX8" fmla="*/ 0 w 12236605"/>
              <a:gd name="connsiteY8" fmla="*/ 3334215 h 4226312"/>
              <a:gd name="connsiteX0" fmla="*/ 0 w 12303512"/>
              <a:gd name="connsiteY0" fmla="*/ 3278459 h 4226312"/>
              <a:gd name="connsiteX1" fmla="*/ 4705815 w 12303512"/>
              <a:gd name="connsiteY1" fmla="*/ 2933738 h 4226312"/>
              <a:gd name="connsiteX2" fmla="*/ 6110869 w 12303512"/>
              <a:gd name="connsiteY2" fmla="*/ 3112160 h 4226312"/>
              <a:gd name="connsiteX3" fmla="*/ 8040030 w 12303512"/>
              <a:gd name="connsiteY3" fmla="*/ 1417173 h 4226312"/>
              <a:gd name="connsiteX4" fmla="*/ 9969190 w 12303512"/>
              <a:gd name="connsiteY4" fmla="*/ 2019339 h 4226312"/>
              <a:gd name="connsiteX5" fmla="*/ 12292361 w 12303512"/>
              <a:gd name="connsiteY5" fmla="*/ 0 h 4226312"/>
              <a:gd name="connsiteX6" fmla="*/ 12303512 w 12303512"/>
              <a:gd name="connsiteY6" fmla="*/ 4125951 h 4226312"/>
              <a:gd name="connsiteX7" fmla="*/ 78058 w 12303512"/>
              <a:gd name="connsiteY7" fmla="*/ 4226312 h 4226312"/>
              <a:gd name="connsiteX8" fmla="*/ 0 w 12303512"/>
              <a:gd name="connsiteY8" fmla="*/ 3278459 h 4226312"/>
              <a:gd name="connsiteX0" fmla="*/ 33455 w 12336967"/>
              <a:gd name="connsiteY0" fmla="*/ 3278459 h 4270917"/>
              <a:gd name="connsiteX1" fmla="*/ 4739270 w 12336967"/>
              <a:gd name="connsiteY1" fmla="*/ 2933738 h 4270917"/>
              <a:gd name="connsiteX2" fmla="*/ 6144324 w 12336967"/>
              <a:gd name="connsiteY2" fmla="*/ 3112160 h 4270917"/>
              <a:gd name="connsiteX3" fmla="*/ 8073485 w 12336967"/>
              <a:gd name="connsiteY3" fmla="*/ 1417173 h 4270917"/>
              <a:gd name="connsiteX4" fmla="*/ 10002645 w 12336967"/>
              <a:gd name="connsiteY4" fmla="*/ 2019339 h 4270917"/>
              <a:gd name="connsiteX5" fmla="*/ 12325816 w 12336967"/>
              <a:gd name="connsiteY5" fmla="*/ 0 h 4270917"/>
              <a:gd name="connsiteX6" fmla="*/ 12336967 w 12336967"/>
              <a:gd name="connsiteY6" fmla="*/ 4125951 h 4270917"/>
              <a:gd name="connsiteX7" fmla="*/ 0 w 12336967"/>
              <a:gd name="connsiteY7" fmla="*/ 4270917 h 4270917"/>
              <a:gd name="connsiteX8" fmla="*/ 33455 w 12336967"/>
              <a:gd name="connsiteY8" fmla="*/ 3278459 h 4270917"/>
              <a:gd name="connsiteX0" fmla="*/ 33455 w 12336967"/>
              <a:gd name="connsiteY0" fmla="*/ 3278459 h 4270917"/>
              <a:gd name="connsiteX1" fmla="*/ 4739270 w 12336967"/>
              <a:gd name="connsiteY1" fmla="*/ 2933738 h 4270917"/>
              <a:gd name="connsiteX2" fmla="*/ 6144324 w 12336967"/>
              <a:gd name="connsiteY2" fmla="*/ 3112160 h 4270917"/>
              <a:gd name="connsiteX3" fmla="*/ 9768470 w 12336967"/>
              <a:gd name="connsiteY3" fmla="*/ 1093787 h 4270917"/>
              <a:gd name="connsiteX4" fmla="*/ 10002645 w 12336967"/>
              <a:gd name="connsiteY4" fmla="*/ 2019339 h 4270917"/>
              <a:gd name="connsiteX5" fmla="*/ 12325816 w 12336967"/>
              <a:gd name="connsiteY5" fmla="*/ 0 h 4270917"/>
              <a:gd name="connsiteX6" fmla="*/ 12336967 w 12336967"/>
              <a:gd name="connsiteY6" fmla="*/ 4125951 h 4270917"/>
              <a:gd name="connsiteX7" fmla="*/ 0 w 12336967"/>
              <a:gd name="connsiteY7" fmla="*/ 4270917 h 4270917"/>
              <a:gd name="connsiteX8" fmla="*/ 33455 w 12336967"/>
              <a:gd name="connsiteY8" fmla="*/ 3278459 h 4270917"/>
              <a:gd name="connsiteX0" fmla="*/ 33455 w 12336967"/>
              <a:gd name="connsiteY0" fmla="*/ 3278459 h 4270917"/>
              <a:gd name="connsiteX1" fmla="*/ 4739270 w 12336967"/>
              <a:gd name="connsiteY1" fmla="*/ 2933738 h 4270917"/>
              <a:gd name="connsiteX2" fmla="*/ 6144324 w 12336967"/>
              <a:gd name="connsiteY2" fmla="*/ 3112160 h 4270917"/>
              <a:gd name="connsiteX3" fmla="*/ 6601523 w 12336967"/>
              <a:gd name="connsiteY3" fmla="*/ 1216450 h 4270917"/>
              <a:gd name="connsiteX4" fmla="*/ 10002645 w 12336967"/>
              <a:gd name="connsiteY4" fmla="*/ 2019339 h 4270917"/>
              <a:gd name="connsiteX5" fmla="*/ 12325816 w 12336967"/>
              <a:gd name="connsiteY5" fmla="*/ 0 h 4270917"/>
              <a:gd name="connsiteX6" fmla="*/ 12336967 w 12336967"/>
              <a:gd name="connsiteY6" fmla="*/ 4125951 h 4270917"/>
              <a:gd name="connsiteX7" fmla="*/ 0 w 12336967"/>
              <a:gd name="connsiteY7" fmla="*/ 4270917 h 4270917"/>
              <a:gd name="connsiteX8" fmla="*/ 33455 w 12336967"/>
              <a:gd name="connsiteY8" fmla="*/ 3278459 h 4270917"/>
              <a:gd name="connsiteX0" fmla="*/ 33455 w 12336967"/>
              <a:gd name="connsiteY0" fmla="*/ 3278459 h 4270917"/>
              <a:gd name="connsiteX1" fmla="*/ 4739270 w 12336967"/>
              <a:gd name="connsiteY1" fmla="*/ 2933738 h 4270917"/>
              <a:gd name="connsiteX2" fmla="*/ 6144324 w 12336967"/>
              <a:gd name="connsiteY2" fmla="*/ 3112160 h 4270917"/>
              <a:gd name="connsiteX3" fmla="*/ 6601523 w 12336967"/>
              <a:gd name="connsiteY3" fmla="*/ 1216450 h 4270917"/>
              <a:gd name="connsiteX4" fmla="*/ 8274207 w 12336967"/>
              <a:gd name="connsiteY4" fmla="*/ 2196692 h 4270917"/>
              <a:gd name="connsiteX5" fmla="*/ 10002645 w 12336967"/>
              <a:gd name="connsiteY5" fmla="*/ 2019339 h 4270917"/>
              <a:gd name="connsiteX6" fmla="*/ 12325816 w 12336967"/>
              <a:gd name="connsiteY6" fmla="*/ 0 h 4270917"/>
              <a:gd name="connsiteX7" fmla="*/ 12336967 w 12336967"/>
              <a:gd name="connsiteY7" fmla="*/ 4125951 h 4270917"/>
              <a:gd name="connsiteX8" fmla="*/ 0 w 12336967"/>
              <a:gd name="connsiteY8" fmla="*/ 4270917 h 4270917"/>
              <a:gd name="connsiteX9" fmla="*/ 33455 w 12336967"/>
              <a:gd name="connsiteY9" fmla="*/ 3278459 h 4270917"/>
              <a:gd name="connsiteX0" fmla="*/ 33455 w 12336967"/>
              <a:gd name="connsiteY0" fmla="*/ 3278459 h 4270917"/>
              <a:gd name="connsiteX1" fmla="*/ 4739270 w 12336967"/>
              <a:gd name="connsiteY1" fmla="*/ 2933738 h 4270917"/>
              <a:gd name="connsiteX2" fmla="*/ 6144324 w 12336967"/>
              <a:gd name="connsiteY2" fmla="*/ 3112160 h 4270917"/>
              <a:gd name="connsiteX3" fmla="*/ 6601523 w 12336967"/>
              <a:gd name="connsiteY3" fmla="*/ 1216450 h 4270917"/>
              <a:gd name="connsiteX4" fmla="*/ 8274207 w 12336967"/>
              <a:gd name="connsiteY4" fmla="*/ 2196692 h 4270917"/>
              <a:gd name="connsiteX5" fmla="*/ 10136460 w 12336967"/>
              <a:gd name="connsiteY5" fmla="*/ 748100 h 4270917"/>
              <a:gd name="connsiteX6" fmla="*/ 12325816 w 12336967"/>
              <a:gd name="connsiteY6" fmla="*/ 0 h 4270917"/>
              <a:gd name="connsiteX7" fmla="*/ 12336967 w 12336967"/>
              <a:gd name="connsiteY7" fmla="*/ 4125951 h 4270917"/>
              <a:gd name="connsiteX8" fmla="*/ 0 w 12336967"/>
              <a:gd name="connsiteY8" fmla="*/ 4270917 h 4270917"/>
              <a:gd name="connsiteX9" fmla="*/ 33455 w 12336967"/>
              <a:gd name="connsiteY9" fmla="*/ 3278459 h 4270917"/>
              <a:gd name="connsiteX0" fmla="*/ 33455 w 12805318"/>
              <a:gd name="connsiteY0" fmla="*/ 2539974 h 3532432"/>
              <a:gd name="connsiteX1" fmla="*/ 4739270 w 12805318"/>
              <a:gd name="connsiteY1" fmla="*/ 2195253 h 3532432"/>
              <a:gd name="connsiteX2" fmla="*/ 6144324 w 12805318"/>
              <a:gd name="connsiteY2" fmla="*/ 2373675 h 3532432"/>
              <a:gd name="connsiteX3" fmla="*/ 6601523 w 12805318"/>
              <a:gd name="connsiteY3" fmla="*/ 477965 h 3532432"/>
              <a:gd name="connsiteX4" fmla="*/ 8274207 w 12805318"/>
              <a:gd name="connsiteY4" fmla="*/ 1458207 h 3532432"/>
              <a:gd name="connsiteX5" fmla="*/ 10136460 w 12805318"/>
              <a:gd name="connsiteY5" fmla="*/ 9615 h 3532432"/>
              <a:gd name="connsiteX6" fmla="*/ 12805318 w 12805318"/>
              <a:gd name="connsiteY6" fmla="*/ 766929 h 3532432"/>
              <a:gd name="connsiteX7" fmla="*/ 12336967 w 12805318"/>
              <a:gd name="connsiteY7" fmla="*/ 3387466 h 3532432"/>
              <a:gd name="connsiteX8" fmla="*/ 0 w 12805318"/>
              <a:gd name="connsiteY8" fmla="*/ 3532432 h 3532432"/>
              <a:gd name="connsiteX9" fmla="*/ 33455 w 12805318"/>
              <a:gd name="connsiteY9" fmla="*/ 2539974 h 3532432"/>
              <a:gd name="connsiteX0" fmla="*/ 33455 w 12805318"/>
              <a:gd name="connsiteY0" fmla="*/ 2551022 h 3543480"/>
              <a:gd name="connsiteX1" fmla="*/ 4739270 w 12805318"/>
              <a:gd name="connsiteY1" fmla="*/ 2206301 h 3543480"/>
              <a:gd name="connsiteX2" fmla="*/ 6144324 w 12805318"/>
              <a:gd name="connsiteY2" fmla="*/ 2384723 h 3543480"/>
              <a:gd name="connsiteX3" fmla="*/ 6601523 w 12805318"/>
              <a:gd name="connsiteY3" fmla="*/ 489013 h 3543480"/>
              <a:gd name="connsiteX4" fmla="*/ 8274207 w 12805318"/>
              <a:gd name="connsiteY4" fmla="*/ 1469255 h 3543480"/>
              <a:gd name="connsiteX5" fmla="*/ 10470997 w 12805318"/>
              <a:gd name="connsiteY5" fmla="*/ 9511 h 3543480"/>
              <a:gd name="connsiteX6" fmla="*/ 12805318 w 12805318"/>
              <a:gd name="connsiteY6" fmla="*/ 777977 h 3543480"/>
              <a:gd name="connsiteX7" fmla="*/ 12336967 w 12805318"/>
              <a:gd name="connsiteY7" fmla="*/ 3398514 h 3543480"/>
              <a:gd name="connsiteX8" fmla="*/ 0 w 12805318"/>
              <a:gd name="connsiteY8" fmla="*/ 3543480 h 3543480"/>
              <a:gd name="connsiteX9" fmla="*/ 33455 w 12805318"/>
              <a:gd name="connsiteY9" fmla="*/ 2551022 h 3543480"/>
              <a:gd name="connsiteX0" fmla="*/ 33455 w 12805318"/>
              <a:gd name="connsiteY0" fmla="*/ 2541916 h 3534374"/>
              <a:gd name="connsiteX1" fmla="*/ 4739270 w 12805318"/>
              <a:gd name="connsiteY1" fmla="*/ 2197195 h 3534374"/>
              <a:gd name="connsiteX2" fmla="*/ 6144324 w 12805318"/>
              <a:gd name="connsiteY2" fmla="*/ 2375617 h 3534374"/>
              <a:gd name="connsiteX3" fmla="*/ 6601523 w 12805318"/>
              <a:gd name="connsiteY3" fmla="*/ 479907 h 3534374"/>
              <a:gd name="connsiteX4" fmla="*/ 8274207 w 12805318"/>
              <a:gd name="connsiteY4" fmla="*/ 1460149 h 3534374"/>
              <a:gd name="connsiteX5" fmla="*/ 10470997 w 12805318"/>
              <a:gd name="connsiteY5" fmla="*/ 405 h 3534374"/>
              <a:gd name="connsiteX6" fmla="*/ 12805318 w 12805318"/>
              <a:gd name="connsiteY6" fmla="*/ 768871 h 3534374"/>
              <a:gd name="connsiteX7" fmla="*/ 12336967 w 12805318"/>
              <a:gd name="connsiteY7" fmla="*/ 3389408 h 3534374"/>
              <a:gd name="connsiteX8" fmla="*/ 0 w 12805318"/>
              <a:gd name="connsiteY8" fmla="*/ 3534374 h 3534374"/>
              <a:gd name="connsiteX9" fmla="*/ 33455 w 12805318"/>
              <a:gd name="connsiteY9" fmla="*/ 2541916 h 3534374"/>
              <a:gd name="connsiteX0" fmla="*/ 33455 w 12805318"/>
              <a:gd name="connsiteY0" fmla="*/ 2541916 h 3534374"/>
              <a:gd name="connsiteX1" fmla="*/ 4739270 w 12805318"/>
              <a:gd name="connsiteY1" fmla="*/ 2197195 h 3534374"/>
              <a:gd name="connsiteX2" fmla="*/ 6144324 w 12805318"/>
              <a:gd name="connsiteY2" fmla="*/ 2375617 h 3534374"/>
              <a:gd name="connsiteX3" fmla="*/ 6869152 w 12805318"/>
              <a:gd name="connsiteY3" fmla="*/ 513361 h 3534374"/>
              <a:gd name="connsiteX4" fmla="*/ 8274207 w 12805318"/>
              <a:gd name="connsiteY4" fmla="*/ 1460149 h 3534374"/>
              <a:gd name="connsiteX5" fmla="*/ 10470997 w 12805318"/>
              <a:gd name="connsiteY5" fmla="*/ 405 h 3534374"/>
              <a:gd name="connsiteX6" fmla="*/ 12805318 w 12805318"/>
              <a:gd name="connsiteY6" fmla="*/ 768871 h 3534374"/>
              <a:gd name="connsiteX7" fmla="*/ 12336967 w 12805318"/>
              <a:gd name="connsiteY7" fmla="*/ 3389408 h 3534374"/>
              <a:gd name="connsiteX8" fmla="*/ 0 w 12805318"/>
              <a:gd name="connsiteY8" fmla="*/ 3534374 h 3534374"/>
              <a:gd name="connsiteX9" fmla="*/ 33455 w 12805318"/>
              <a:gd name="connsiteY9" fmla="*/ 2541916 h 3534374"/>
              <a:gd name="connsiteX0" fmla="*/ 33455 w 12805318"/>
              <a:gd name="connsiteY0" fmla="*/ 2557223 h 3549681"/>
              <a:gd name="connsiteX1" fmla="*/ 4739270 w 12805318"/>
              <a:gd name="connsiteY1" fmla="*/ 2212502 h 3549681"/>
              <a:gd name="connsiteX2" fmla="*/ 6144324 w 12805318"/>
              <a:gd name="connsiteY2" fmla="*/ 2390924 h 3549681"/>
              <a:gd name="connsiteX3" fmla="*/ 6869152 w 12805318"/>
              <a:gd name="connsiteY3" fmla="*/ 528668 h 3549681"/>
              <a:gd name="connsiteX4" fmla="*/ 8486080 w 12805318"/>
              <a:gd name="connsiteY4" fmla="*/ 1698481 h 3549681"/>
              <a:gd name="connsiteX5" fmla="*/ 10470997 w 12805318"/>
              <a:gd name="connsiteY5" fmla="*/ 15712 h 3549681"/>
              <a:gd name="connsiteX6" fmla="*/ 12805318 w 12805318"/>
              <a:gd name="connsiteY6" fmla="*/ 784178 h 3549681"/>
              <a:gd name="connsiteX7" fmla="*/ 12336967 w 12805318"/>
              <a:gd name="connsiteY7" fmla="*/ 3404715 h 3549681"/>
              <a:gd name="connsiteX8" fmla="*/ 0 w 12805318"/>
              <a:gd name="connsiteY8" fmla="*/ 3549681 h 3549681"/>
              <a:gd name="connsiteX9" fmla="*/ 33455 w 12805318"/>
              <a:gd name="connsiteY9" fmla="*/ 2557223 h 3549681"/>
              <a:gd name="connsiteX0" fmla="*/ 33455 w 12805318"/>
              <a:gd name="connsiteY0" fmla="*/ 2612225 h 3604683"/>
              <a:gd name="connsiteX1" fmla="*/ 4739270 w 12805318"/>
              <a:gd name="connsiteY1" fmla="*/ 2267504 h 3604683"/>
              <a:gd name="connsiteX2" fmla="*/ 6144324 w 12805318"/>
              <a:gd name="connsiteY2" fmla="*/ 2445926 h 3604683"/>
              <a:gd name="connsiteX3" fmla="*/ 6869152 w 12805318"/>
              <a:gd name="connsiteY3" fmla="*/ 583670 h 3604683"/>
              <a:gd name="connsiteX4" fmla="*/ 8486080 w 12805318"/>
              <a:gd name="connsiteY4" fmla="*/ 1753483 h 3604683"/>
              <a:gd name="connsiteX5" fmla="*/ 10504451 w 12805318"/>
              <a:gd name="connsiteY5" fmla="*/ 14958 h 3604683"/>
              <a:gd name="connsiteX6" fmla="*/ 12805318 w 12805318"/>
              <a:gd name="connsiteY6" fmla="*/ 839180 h 3604683"/>
              <a:gd name="connsiteX7" fmla="*/ 12336967 w 12805318"/>
              <a:gd name="connsiteY7" fmla="*/ 3459717 h 3604683"/>
              <a:gd name="connsiteX8" fmla="*/ 0 w 12805318"/>
              <a:gd name="connsiteY8" fmla="*/ 3604683 h 3604683"/>
              <a:gd name="connsiteX9" fmla="*/ 33455 w 12805318"/>
              <a:gd name="connsiteY9" fmla="*/ 2612225 h 3604683"/>
              <a:gd name="connsiteX0" fmla="*/ 33455 w 12805318"/>
              <a:gd name="connsiteY0" fmla="*/ 2612225 h 3604683"/>
              <a:gd name="connsiteX1" fmla="*/ 4739270 w 12805318"/>
              <a:gd name="connsiteY1" fmla="*/ 2267504 h 3604683"/>
              <a:gd name="connsiteX2" fmla="*/ 6144324 w 12805318"/>
              <a:gd name="connsiteY2" fmla="*/ 2445926 h 3604683"/>
              <a:gd name="connsiteX3" fmla="*/ 6869152 w 12805318"/>
              <a:gd name="connsiteY3" fmla="*/ 583670 h 3604683"/>
              <a:gd name="connsiteX4" fmla="*/ 8486080 w 12805318"/>
              <a:gd name="connsiteY4" fmla="*/ 1753483 h 3604683"/>
              <a:gd name="connsiteX5" fmla="*/ 10504451 w 12805318"/>
              <a:gd name="connsiteY5" fmla="*/ 14958 h 3604683"/>
              <a:gd name="connsiteX6" fmla="*/ 12805318 w 12805318"/>
              <a:gd name="connsiteY6" fmla="*/ 839180 h 3604683"/>
              <a:gd name="connsiteX7" fmla="*/ 12738411 w 12805318"/>
              <a:gd name="connsiteY7" fmla="*/ 3515473 h 3604683"/>
              <a:gd name="connsiteX8" fmla="*/ 0 w 12805318"/>
              <a:gd name="connsiteY8" fmla="*/ 3604683 h 3604683"/>
              <a:gd name="connsiteX9" fmla="*/ 33455 w 12805318"/>
              <a:gd name="connsiteY9" fmla="*/ 2612225 h 3604683"/>
              <a:gd name="connsiteX0" fmla="*/ 33455 w 12738411"/>
              <a:gd name="connsiteY0" fmla="*/ 2610015 h 3602473"/>
              <a:gd name="connsiteX1" fmla="*/ 4739270 w 12738411"/>
              <a:gd name="connsiteY1" fmla="*/ 2265294 h 3602473"/>
              <a:gd name="connsiteX2" fmla="*/ 6144324 w 12738411"/>
              <a:gd name="connsiteY2" fmla="*/ 2443716 h 3602473"/>
              <a:gd name="connsiteX3" fmla="*/ 6869152 w 12738411"/>
              <a:gd name="connsiteY3" fmla="*/ 581460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4739270 w 12738411"/>
              <a:gd name="connsiteY1" fmla="*/ 2265294 h 3602473"/>
              <a:gd name="connsiteX2" fmla="*/ 6144324 w 12738411"/>
              <a:gd name="connsiteY2" fmla="*/ 2443716 h 3602473"/>
              <a:gd name="connsiteX3" fmla="*/ 6947210 w 12738411"/>
              <a:gd name="connsiteY3" fmla="*/ 581460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3735660 w 12738411"/>
              <a:gd name="connsiteY1" fmla="*/ 1796943 h 3602473"/>
              <a:gd name="connsiteX2" fmla="*/ 6144324 w 12738411"/>
              <a:gd name="connsiteY2" fmla="*/ 2443716 h 3602473"/>
              <a:gd name="connsiteX3" fmla="*/ 6947210 w 12738411"/>
              <a:gd name="connsiteY3" fmla="*/ 581460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3345367 w 12738411"/>
              <a:gd name="connsiteY1" fmla="*/ 1796943 h 3602473"/>
              <a:gd name="connsiteX2" fmla="*/ 6144324 w 12738411"/>
              <a:gd name="connsiteY2" fmla="*/ 2443716 h 3602473"/>
              <a:gd name="connsiteX3" fmla="*/ 6947210 w 12738411"/>
              <a:gd name="connsiteY3" fmla="*/ 581460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3345367 w 12738411"/>
              <a:gd name="connsiteY1" fmla="*/ 1796943 h 3602473"/>
              <a:gd name="connsiteX2" fmla="*/ 5497553 w 12738411"/>
              <a:gd name="connsiteY2" fmla="*/ 2477170 h 3602473"/>
              <a:gd name="connsiteX3" fmla="*/ 6947210 w 12738411"/>
              <a:gd name="connsiteY3" fmla="*/ 581460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3345367 w 12738411"/>
              <a:gd name="connsiteY1" fmla="*/ 1796943 h 3602473"/>
              <a:gd name="connsiteX2" fmla="*/ 5497553 w 12738411"/>
              <a:gd name="connsiteY2" fmla="*/ 2477170 h 3602473"/>
              <a:gd name="connsiteX3" fmla="*/ 6947210 w 12738411"/>
              <a:gd name="connsiteY3" fmla="*/ 581460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3345367 w 12738411"/>
              <a:gd name="connsiteY1" fmla="*/ 1796943 h 3602473"/>
              <a:gd name="connsiteX2" fmla="*/ 5029202 w 12738411"/>
              <a:gd name="connsiteY2" fmla="*/ 1964214 h 3602473"/>
              <a:gd name="connsiteX3" fmla="*/ 6947210 w 12738411"/>
              <a:gd name="connsiteY3" fmla="*/ 581460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3345367 w 12738411"/>
              <a:gd name="connsiteY1" fmla="*/ 1796943 h 3602473"/>
              <a:gd name="connsiteX2" fmla="*/ 5029202 w 12738411"/>
              <a:gd name="connsiteY2" fmla="*/ 1964214 h 3602473"/>
              <a:gd name="connsiteX3" fmla="*/ 6768791 w 12738411"/>
              <a:gd name="connsiteY3" fmla="*/ 849089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3345367 w 12738411"/>
              <a:gd name="connsiteY1" fmla="*/ 1796943 h 3602473"/>
              <a:gd name="connsiteX2" fmla="*/ 5029202 w 12738411"/>
              <a:gd name="connsiteY2" fmla="*/ 1964214 h 3602473"/>
              <a:gd name="connsiteX3" fmla="*/ 6768791 w 12738411"/>
              <a:gd name="connsiteY3" fmla="*/ 849089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3345367 w 12738411"/>
              <a:gd name="connsiteY1" fmla="*/ 1796943 h 3602473"/>
              <a:gd name="connsiteX2" fmla="*/ 5029202 w 12738411"/>
              <a:gd name="connsiteY2" fmla="*/ 1964214 h 3602473"/>
              <a:gd name="connsiteX3" fmla="*/ 6568070 w 12738411"/>
              <a:gd name="connsiteY3" fmla="*/ 860240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3345367 w 12738411"/>
              <a:gd name="connsiteY1" fmla="*/ 1796943 h 3602473"/>
              <a:gd name="connsiteX2" fmla="*/ 5029202 w 12738411"/>
              <a:gd name="connsiteY2" fmla="*/ 1964214 h 3602473"/>
              <a:gd name="connsiteX3" fmla="*/ 6568070 w 12738411"/>
              <a:gd name="connsiteY3" fmla="*/ 860240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3345367 w 12738411"/>
              <a:gd name="connsiteY1" fmla="*/ 1796943 h 3602473"/>
              <a:gd name="connsiteX2" fmla="*/ 5029202 w 12738411"/>
              <a:gd name="connsiteY2" fmla="*/ 1964214 h 3602473"/>
              <a:gd name="connsiteX3" fmla="*/ 6568070 w 12738411"/>
              <a:gd name="connsiteY3" fmla="*/ 860240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610015 h 3602473"/>
              <a:gd name="connsiteX1" fmla="*/ 3345367 w 12738411"/>
              <a:gd name="connsiteY1" fmla="*/ 1796943 h 3602473"/>
              <a:gd name="connsiteX2" fmla="*/ 5029202 w 12738411"/>
              <a:gd name="connsiteY2" fmla="*/ 1964214 h 3602473"/>
              <a:gd name="connsiteX3" fmla="*/ 6568070 w 12738411"/>
              <a:gd name="connsiteY3" fmla="*/ 860240 h 3602473"/>
              <a:gd name="connsiteX4" fmla="*/ 8486080 w 12738411"/>
              <a:gd name="connsiteY4" fmla="*/ 1751273 h 3602473"/>
              <a:gd name="connsiteX5" fmla="*/ 10504451 w 12738411"/>
              <a:gd name="connsiteY5" fmla="*/ 12748 h 3602473"/>
              <a:gd name="connsiteX6" fmla="*/ 12704957 w 12738411"/>
              <a:gd name="connsiteY6" fmla="*/ 892726 h 3602473"/>
              <a:gd name="connsiteX7" fmla="*/ 12738411 w 12738411"/>
              <a:gd name="connsiteY7" fmla="*/ 3513263 h 3602473"/>
              <a:gd name="connsiteX8" fmla="*/ 0 w 12738411"/>
              <a:gd name="connsiteY8" fmla="*/ 3602473 h 3602473"/>
              <a:gd name="connsiteX9" fmla="*/ 33455 w 12738411"/>
              <a:gd name="connsiteY9" fmla="*/ 2610015 h 3602473"/>
              <a:gd name="connsiteX0" fmla="*/ 33455 w 12738411"/>
              <a:gd name="connsiteY0" fmla="*/ 2598984 h 3591442"/>
              <a:gd name="connsiteX1" fmla="*/ 3345367 w 12738411"/>
              <a:gd name="connsiteY1" fmla="*/ 1785912 h 3591442"/>
              <a:gd name="connsiteX2" fmla="*/ 5029202 w 12738411"/>
              <a:gd name="connsiteY2" fmla="*/ 1953183 h 3591442"/>
              <a:gd name="connsiteX3" fmla="*/ 6568070 w 12738411"/>
              <a:gd name="connsiteY3" fmla="*/ 849209 h 3591442"/>
              <a:gd name="connsiteX4" fmla="*/ 8486080 w 12738411"/>
              <a:gd name="connsiteY4" fmla="*/ 1740242 h 3591442"/>
              <a:gd name="connsiteX5" fmla="*/ 10582509 w 12738411"/>
              <a:gd name="connsiteY5" fmla="*/ 12868 h 3591442"/>
              <a:gd name="connsiteX6" fmla="*/ 12704957 w 12738411"/>
              <a:gd name="connsiteY6" fmla="*/ 881695 h 3591442"/>
              <a:gd name="connsiteX7" fmla="*/ 12738411 w 12738411"/>
              <a:gd name="connsiteY7" fmla="*/ 3502232 h 3591442"/>
              <a:gd name="connsiteX8" fmla="*/ 0 w 12738411"/>
              <a:gd name="connsiteY8" fmla="*/ 3591442 h 3591442"/>
              <a:gd name="connsiteX9" fmla="*/ 33455 w 12738411"/>
              <a:gd name="connsiteY9" fmla="*/ 2598984 h 3591442"/>
              <a:gd name="connsiteX0" fmla="*/ 33455 w 12738411"/>
              <a:gd name="connsiteY0" fmla="*/ 2587595 h 3580053"/>
              <a:gd name="connsiteX1" fmla="*/ 3345367 w 12738411"/>
              <a:gd name="connsiteY1" fmla="*/ 1774523 h 3580053"/>
              <a:gd name="connsiteX2" fmla="*/ 5029202 w 12738411"/>
              <a:gd name="connsiteY2" fmla="*/ 1941794 h 3580053"/>
              <a:gd name="connsiteX3" fmla="*/ 6568070 w 12738411"/>
              <a:gd name="connsiteY3" fmla="*/ 837820 h 3580053"/>
              <a:gd name="connsiteX4" fmla="*/ 8486080 w 12738411"/>
              <a:gd name="connsiteY4" fmla="*/ 1728853 h 3580053"/>
              <a:gd name="connsiteX5" fmla="*/ 10582509 w 12738411"/>
              <a:gd name="connsiteY5" fmla="*/ 1479 h 3580053"/>
              <a:gd name="connsiteX6" fmla="*/ 12704957 w 12738411"/>
              <a:gd name="connsiteY6" fmla="*/ 870306 h 3580053"/>
              <a:gd name="connsiteX7" fmla="*/ 12738411 w 12738411"/>
              <a:gd name="connsiteY7" fmla="*/ 3490843 h 3580053"/>
              <a:gd name="connsiteX8" fmla="*/ 0 w 12738411"/>
              <a:gd name="connsiteY8" fmla="*/ 3580053 h 3580053"/>
              <a:gd name="connsiteX9" fmla="*/ 33455 w 12738411"/>
              <a:gd name="connsiteY9" fmla="*/ 2587595 h 3580053"/>
              <a:gd name="connsiteX0" fmla="*/ 33455 w 12738411"/>
              <a:gd name="connsiteY0" fmla="*/ 2587470 h 3579928"/>
              <a:gd name="connsiteX1" fmla="*/ 3345367 w 12738411"/>
              <a:gd name="connsiteY1" fmla="*/ 1774398 h 3579928"/>
              <a:gd name="connsiteX2" fmla="*/ 5029202 w 12738411"/>
              <a:gd name="connsiteY2" fmla="*/ 1941669 h 3579928"/>
              <a:gd name="connsiteX3" fmla="*/ 6568070 w 12738411"/>
              <a:gd name="connsiteY3" fmla="*/ 837695 h 3579928"/>
              <a:gd name="connsiteX4" fmla="*/ 8486080 w 12738411"/>
              <a:gd name="connsiteY4" fmla="*/ 1728728 h 3579928"/>
              <a:gd name="connsiteX5" fmla="*/ 10582509 w 12738411"/>
              <a:gd name="connsiteY5" fmla="*/ 1354 h 3579928"/>
              <a:gd name="connsiteX6" fmla="*/ 12704957 w 12738411"/>
              <a:gd name="connsiteY6" fmla="*/ 870181 h 3579928"/>
              <a:gd name="connsiteX7" fmla="*/ 12738411 w 12738411"/>
              <a:gd name="connsiteY7" fmla="*/ 3490718 h 3579928"/>
              <a:gd name="connsiteX8" fmla="*/ 0 w 12738411"/>
              <a:gd name="connsiteY8" fmla="*/ 3579928 h 3579928"/>
              <a:gd name="connsiteX9" fmla="*/ 33455 w 12738411"/>
              <a:gd name="connsiteY9" fmla="*/ 2587470 h 3579928"/>
              <a:gd name="connsiteX0" fmla="*/ 33455 w 12738411"/>
              <a:gd name="connsiteY0" fmla="*/ 2587470 h 3579928"/>
              <a:gd name="connsiteX1" fmla="*/ 3345367 w 12738411"/>
              <a:gd name="connsiteY1" fmla="*/ 1774398 h 3579928"/>
              <a:gd name="connsiteX2" fmla="*/ 5029202 w 12738411"/>
              <a:gd name="connsiteY2" fmla="*/ 1941669 h 3579928"/>
              <a:gd name="connsiteX3" fmla="*/ 6568070 w 12738411"/>
              <a:gd name="connsiteY3" fmla="*/ 837695 h 3579928"/>
              <a:gd name="connsiteX4" fmla="*/ 8486080 w 12738411"/>
              <a:gd name="connsiteY4" fmla="*/ 1728728 h 3579928"/>
              <a:gd name="connsiteX5" fmla="*/ 10582509 w 12738411"/>
              <a:gd name="connsiteY5" fmla="*/ 1354 h 3579928"/>
              <a:gd name="connsiteX6" fmla="*/ 12704957 w 12738411"/>
              <a:gd name="connsiteY6" fmla="*/ 870181 h 3579928"/>
              <a:gd name="connsiteX7" fmla="*/ 12738411 w 12738411"/>
              <a:gd name="connsiteY7" fmla="*/ 3490718 h 3579928"/>
              <a:gd name="connsiteX8" fmla="*/ 0 w 12738411"/>
              <a:gd name="connsiteY8" fmla="*/ 3579928 h 3579928"/>
              <a:gd name="connsiteX9" fmla="*/ 33455 w 12738411"/>
              <a:gd name="connsiteY9" fmla="*/ 2587470 h 3579928"/>
              <a:gd name="connsiteX0" fmla="*/ 33455 w 12738411"/>
              <a:gd name="connsiteY0" fmla="*/ 2587470 h 3579928"/>
              <a:gd name="connsiteX1" fmla="*/ 3345367 w 12738411"/>
              <a:gd name="connsiteY1" fmla="*/ 1774398 h 3579928"/>
              <a:gd name="connsiteX2" fmla="*/ 5029202 w 12738411"/>
              <a:gd name="connsiteY2" fmla="*/ 1941669 h 3579928"/>
              <a:gd name="connsiteX3" fmla="*/ 6568070 w 12738411"/>
              <a:gd name="connsiteY3" fmla="*/ 837695 h 3579928"/>
              <a:gd name="connsiteX4" fmla="*/ 8486080 w 12738411"/>
              <a:gd name="connsiteY4" fmla="*/ 1728728 h 3579928"/>
              <a:gd name="connsiteX5" fmla="*/ 10582509 w 12738411"/>
              <a:gd name="connsiteY5" fmla="*/ 1354 h 3579928"/>
              <a:gd name="connsiteX6" fmla="*/ 12704957 w 12738411"/>
              <a:gd name="connsiteY6" fmla="*/ 870181 h 3579928"/>
              <a:gd name="connsiteX7" fmla="*/ 12738411 w 12738411"/>
              <a:gd name="connsiteY7" fmla="*/ 3490718 h 3579928"/>
              <a:gd name="connsiteX8" fmla="*/ 0 w 12738411"/>
              <a:gd name="connsiteY8" fmla="*/ 3579928 h 3579928"/>
              <a:gd name="connsiteX9" fmla="*/ 33455 w 12738411"/>
              <a:gd name="connsiteY9" fmla="*/ 2587470 h 3579928"/>
              <a:gd name="connsiteX0" fmla="*/ 33455 w 12738411"/>
              <a:gd name="connsiteY0" fmla="*/ 2587470 h 3579928"/>
              <a:gd name="connsiteX1" fmla="*/ 3367670 w 12738411"/>
              <a:gd name="connsiteY1" fmla="*/ 1685188 h 3579928"/>
              <a:gd name="connsiteX2" fmla="*/ 5029202 w 12738411"/>
              <a:gd name="connsiteY2" fmla="*/ 1941669 h 3579928"/>
              <a:gd name="connsiteX3" fmla="*/ 6568070 w 12738411"/>
              <a:gd name="connsiteY3" fmla="*/ 837695 h 3579928"/>
              <a:gd name="connsiteX4" fmla="*/ 8486080 w 12738411"/>
              <a:gd name="connsiteY4" fmla="*/ 1728728 h 3579928"/>
              <a:gd name="connsiteX5" fmla="*/ 10582509 w 12738411"/>
              <a:gd name="connsiteY5" fmla="*/ 1354 h 3579928"/>
              <a:gd name="connsiteX6" fmla="*/ 12704957 w 12738411"/>
              <a:gd name="connsiteY6" fmla="*/ 870181 h 3579928"/>
              <a:gd name="connsiteX7" fmla="*/ 12738411 w 12738411"/>
              <a:gd name="connsiteY7" fmla="*/ 3490718 h 3579928"/>
              <a:gd name="connsiteX8" fmla="*/ 0 w 12738411"/>
              <a:gd name="connsiteY8" fmla="*/ 3579928 h 3579928"/>
              <a:gd name="connsiteX9" fmla="*/ 33455 w 12738411"/>
              <a:gd name="connsiteY9" fmla="*/ 2587470 h 3579928"/>
              <a:gd name="connsiteX0" fmla="*/ 33455 w 12738411"/>
              <a:gd name="connsiteY0" fmla="*/ 2587470 h 3579928"/>
              <a:gd name="connsiteX1" fmla="*/ 3367670 w 12738411"/>
              <a:gd name="connsiteY1" fmla="*/ 1685188 h 3579928"/>
              <a:gd name="connsiteX2" fmla="*/ 5029202 w 12738411"/>
              <a:gd name="connsiteY2" fmla="*/ 1941669 h 3579928"/>
              <a:gd name="connsiteX3" fmla="*/ 6568070 w 12738411"/>
              <a:gd name="connsiteY3" fmla="*/ 837695 h 3579928"/>
              <a:gd name="connsiteX4" fmla="*/ 8486080 w 12738411"/>
              <a:gd name="connsiteY4" fmla="*/ 1728728 h 3579928"/>
              <a:gd name="connsiteX5" fmla="*/ 10582509 w 12738411"/>
              <a:gd name="connsiteY5" fmla="*/ 1354 h 3579928"/>
              <a:gd name="connsiteX6" fmla="*/ 12704957 w 12738411"/>
              <a:gd name="connsiteY6" fmla="*/ 870181 h 3579928"/>
              <a:gd name="connsiteX7" fmla="*/ 12738411 w 12738411"/>
              <a:gd name="connsiteY7" fmla="*/ 3490718 h 3579928"/>
              <a:gd name="connsiteX8" fmla="*/ 0 w 12738411"/>
              <a:gd name="connsiteY8" fmla="*/ 3579928 h 3579928"/>
              <a:gd name="connsiteX9" fmla="*/ 33455 w 12738411"/>
              <a:gd name="connsiteY9" fmla="*/ 2587470 h 3579928"/>
              <a:gd name="connsiteX0" fmla="*/ 33455 w 12738411"/>
              <a:gd name="connsiteY0" fmla="*/ 2587470 h 3579928"/>
              <a:gd name="connsiteX1" fmla="*/ 702529 w 12738411"/>
              <a:gd name="connsiteY1" fmla="*/ 2520462 h 3579928"/>
              <a:gd name="connsiteX2" fmla="*/ 3367670 w 12738411"/>
              <a:gd name="connsiteY2" fmla="*/ 1685188 h 3579928"/>
              <a:gd name="connsiteX3" fmla="*/ 5029202 w 12738411"/>
              <a:gd name="connsiteY3" fmla="*/ 1941669 h 3579928"/>
              <a:gd name="connsiteX4" fmla="*/ 6568070 w 12738411"/>
              <a:gd name="connsiteY4" fmla="*/ 837695 h 3579928"/>
              <a:gd name="connsiteX5" fmla="*/ 8486080 w 12738411"/>
              <a:gd name="connsiteY5" fmla="*/ 1728728 h 3579928"/>
              <a:gd name="connsiteX6" fmla="*/ 10582509 w 12738411"/>
              <a:gd name="connsiteY6" fmla="*/ 1354 h 3579928"/>
              <a:gd name="connsiteX7" fmla="*/ 12704957 w 12738411"/>
              <a:gd name="connsiteY7" fmla="*/ 870181 h 3579928"/>
              <a:gd name="connsiteX8" fmla="*/ 12738411 w 12738411"/>
              <a:gd name="connsiteY8" fmla="*/ 3490718 h 3579928"/>
              <a:gd name="connsiteX9" fmla="*/ 0 w 12738411"/>
              <a:gd name="connsiteY9" fmla="*/ 3579928 h 3579928"/>
              <a:gd name="connsiteX10" fmla="*/ 33455 w 12738411"/>
              <a:gd name="connsiteY10" fmla="*/ 2587470 h 3579928"/>
              <a:gd name="connsiteX0" fmla="*/ 33455 w 12738411"/>
              <a:gd name="connsiteY0" fmla="*/ 2587470 h 3579928"/>
              <a:gd name="connsiteX1" fmla="*/ 1360451 w 12738411"/>
              <a:gd name="connsiteY1" fmla="*/ 2364344 h 3579928"/>
              <a:gd name="connsiteX2" fmla="*/ 3367670 w 12738411"/>
              <a:gd name="connsiteY2" fmla="*/ 1685188 h 3579928"/>
              <a:gd name="connsiteX3" fmla="*/ 5029202 w 12738411"/>
              <a:gd name="connsiteY3" fmla="*/ 1941669 h 3579928"/>
              <a:gd name="connsiteX4" fmla="*/ 6568070 w 12738411"/>
              <a:gd name="connsiteY4" fmla="*/ 837695 h 3579928"/>
              <a:gd name="connsiteX5" fmla="*/ 8486080 w 12738411"/>
              <a:gd name="connsiteY5" fmla="*/ 1728728 h 3579928"/>
              <a:gd name="connsiteX6" fmla="*/ 10582509 w 12738411"/>
              <a:gd name="connsiteY6" fmla="*/ 1354 h 3579928"/>
              <a:gd name="connsiteX7" fmla="*/ 12704957 w 12738411"/>
              <a:gd name="connsiteY7" fmla="*/ 870181 h 3579928"/>
              <a:gd name="connsiteX8" fmla="*/ 12738411 w 12738411"/>
              <a:gd name="connsiteY8" fmla="*/ 3490718 h 3579928"/>
              <a:gd name="connsiteX9" fmla="*/ 0 w 12738411"/>
              <a:gd name="connsiteY9" fmla="*/ 3579928 h 3579928"/>
              <a:gd name="connsiteX10" fmla="*/ 33455 w 12738411"/>
              <a:gd name="connsiteY10" fmla="*/ 2587470 h 3579928"/>
              <a:gd name="connsiteX0" fmla="*/ 0 w 12783015"/>
              <a:gd name="connsiteY0" fmla="*/ 2029909 h 3579928"/>
              <a:gd name="connsiteX1" fmla="*/ 1405055 w 12783015"/>
              <a:gd name="connsiteY1" fmla="*/ 2364344 h 3579928"/>
              <a:gd name="connsiteX2" fmla="*/ 3412274 w 12783015"/>
              <a:gd name="connsiteY2" fmla="*/ 1685188 h 3579928"/>
              <a:gd name="connsiteX3" fmla="*/ 5073806 w 12783015"/>
              <a:gd name="connsiteY3" fmla="*/ 1941669 h 3579928"/>
              <a:gd name="connsiteX4" fmla="*/ 6612674 w 12783015"/>
              <a:gd name="connsiteY4" fmla="*/ 837695 h 3579928"/>
              <a:gd name="connsiteX5" fmla="*/ 8530684 w 12783015"/>
              <a:gd name="connsiteY5" fmla="*/ 1728728 h 3579928"/>
              <a:gd name="connsiteX6" fmla="*/ 10627113 w 12783015"/>
              <a:gd name="connsiteY6" fmla="*/ 1354 h 3579928"/>
              <a:gd name="connsiteX7" fmla="*/ 12749561 w 12783015"/>
              <a:gd name="connsiteY7" fmla="*/ 870181 h 3579928"/>
              <a:gd name="connsiteX8" fmla="*/ 12783015 w 12783015"/>
              <a:gd name="connsiteY8" fmla="*/ 3490718 h 3579928"/>
              <a:gd name="connsiteX9" fmla="*/ 44604 w 12783015"/>
              <a:gd name="connsiteY9" fmla="*/ 3579928 h 3579928"/>
              <a:gd name="connsiteX10" fmla="*/ 0 w 12783015"/>
              <a:gd name="connsiteY10" fmla="*/ 2029909 h 3579928"/>
              <a:gd name="connsiteX0" fmla="*/ 0 w 12783015"/>
              <a:gd name="connsiteY0" fmla="*/ 2029909 h 3579928"/>
              <a:gd name="connsiteX1" fmla="*/ 1405055 w 12783015"/>
              <a:gd name="connsiteY1" fmla="*/ 2364344 h 3579928"/>
              <a:gd name="connsiteX2" fmla="*/ 3412274 w 12783015"/>
              <a:gd name="connsiteY2" fmla="*/ 1685188 h 3579928"/>
              <a:gd name="connsiteX3" fmla="*/ 5073806 w 12783015"/>
              <a:gd name="connsiteY3" fmla="*/ 1941669 h 3579928"/>
              <a:gd name="connsiteX4" fmla="*/ 6612674 w 12783015"/>
              <a:gd name="connsiteY4" fmla="*/ 837695 h 3579928"/>
              <a:gd name="connsiteX5" fmla="*/ 8530684 w 12783015"/>
              <a:gd name="connsiteY5" fmla="*/ 1728728 h 3579928"/>
              <a:gd name="connsiteX6" fmla="*/ 10627113 w 12783015"/>
              <a:gd name="connsiteY6" fmla="*/ 1354 h 3579928"/>
              <a:gd name="connsiteX7" fmla="*/ 12749561 w 12783015"/>
              <a:gd name="connsiteY7" fmla="*/ 870181 h 3579928"/>
              <a:gd name="connsiteX8" fmla="*/ 12783015 w 12783015"/>
              <a:gd name="connsiteY8" fmla="*/ 3490718 h 3579928"/>
              <a:gd name="connsiteX9" fmla="*/ 44604 w 12783015"/>
              <a:gd name="connsiteY9" fmla="*/ 3579928 h 3579928"/>
              <a:gd name="connsiteX10" fmla="*/ 0 w 12783015"/>
              <a:gd name="connsiteY10" fmla="*/ 2029909 h 3579928"/>
              <a:gd name="connsiteX0" fmla="*/ 0 w 12783015"/>
              <a:gd name="connsiteY0" fmla="*/ 2029909 h 3579928"/>
              <a:gd name="connsiteX1" fmla="*/ 1661533 w 12783015"/>
              <a:gd name="connsiteY1" fmla="*/ 2364344 h 3579928"/>
              <a:gd name="connsiteX2" fmla="*/ 3412274 w 12783015"/>
              <a:gd name="connsiteY2" fmla="*/ 1685188 h 3579928"/>
              <a:gd name="connsiteX3" fmla="*/ 5073806 w 12783015"/>
              <a:gd name="connsiteY3" fmla="*/ 1941669 h 3579928"/>
              <a:gd name="connsiteX4" fmla="*/ 6612674 w 12783015"/>
              <a:gd name="connsiteY4" fmla="*/ 837695 h 3579928"/>
              <a:gd name="connsiteX5" fmla="*/ 8530684 w 12783015"/>
              <a:gd name="connsiteY5" fmla="*/ 1728728 h 3579928"/>
              <a:gd name="connsiteX6" fmla="*/ 10627113 w 12783015"/>
              <a:gd name="connsiteY6" fmla="*/ 1354 h 3579928"/>
              <a:gd name="connsiteX7" fmla="*/ 12749561 w 12783015"/>
              <a:gd name="connsiteY7" fmla="*/ 870181 h 3579928"/>
              <a:gd name="connsiteX8" fmla="*/ 12783015 w 12783015"/>
              <a:gd name="connsiteY8" fmla="*/ 3490718 h 3579928"/>
              <a:gd name="connsiteX9" fmla="*/ 44604 w 12783015"/>
              <a:gd name="connsiteY9" fmla="*/ 3579928 h 3579928"/>
              <a:gd name="connsiteX10" fmla="*/ 0 w 12783015"/>
              <a:gd name="connsiteY10" fmla="*/ 2029909 h 3579928"/>
              <a:gd name="connsiteX0" fmla="*/ 0 w 12783015"/>
              <a:gd name="connsiteY0" fmla="*/ 2029909 h 3579928"/>
              <a:gd name="connsiteX1" fmla="*/ 1661533 w 12783015"/>
              <a:gd name="connsiteY1" fmla="*/ 2364344 h 3579928"/>
              <a:gd name="connsiteX2" fmla="*/ 3412274 w 12783015"/>
              <a:gd name="connsiteY2" fmla="*/ 1685188 h 3579928"/>
              <a:gd name="connsiteX3" fmla="*/ 5073806 w 12783015"/>
              <a:gd name="connsiteY3" fmla="*/ 1941669 h 3579928"/>
              <a:gd name="connsiteX4" fmla="*/ 6612674 w 12783015"/>
              <a:gd name="connsiteY4" fmla="*/ 837695 h 3579928"/>
              <a:gd name="connsiteX5" fmla="*/ 8530684 w 12783015"/>
              <a:gd name="connsiteY5" fmla="*/ 1728728 h 3579928"/>
              <a:gd name="connsiteX6" fmla="*/ 10627113 w 12783015"/>
              <a:gd name="connsiteY6" fmla="*/ 1354 h 3579928"/>
              <a:gd name="connsiteX7" fmla="*/ 12749561 w 12783015"/>
              <a:gd name="connsiteY7" fmla="*/ 870181 h 3579928"/>
              <a:gd name="connsiteX8" fmla="*/ 12783015 w 12783015"/>
              <a:gd name="connsiteY8" fmla="*/ 3490718 h 3579928"/>
              <a:gd name="connsiteX9" fmla="*/ 44604 w 12783015"/>
              <a:gd name="connsiteY9" fmla="*/ 3579928 h 3579928"/>
              <a:gd name="connsiteX10" fmla="*/ 0 w 12783015"/>
              <a:gd name="connsiteY10" fmla="*/ 2029909 h 3579928"/>
              <a:gd name="connsiteX0" fmla="*/ 0 w 12783015"/>
              <a:gd name="connsiteY0" fmla="*/ 2029909 h 3579928"/>
              <a:gd name="connsiteX1" fmla="*/ 1661533 w 12783015"/>
              <a:gd name="connsiteY1" fmla="*/ 2364344 h 3579928"/>
              <a:gd name="connsiteX2" fmla="*/ 3412274 w 12783015"/>
              <a:gd name="connsiteY2" fmla="*/ 1685188 h 3579928"/>
              <a:gd name="connsiteX3" fmla="*/ 5073806 w 12783015"/>
              <a:gd name="connsiteY3" fmla="*/ 1941669 h 3579928"/>
              <a:gd name="connsiteX4" fmla="*/ 6612674 w 12783015"/>
              <a:gd name="connsiteY4" fmla="*/ 837695 h 3579928"/>
              <a:gd name="connsiteX5" fmla="*/ 8530684 w 12783015"/>
              <a:gd name="connsiteY5" fmla="*/ 1728728 h 3579928"/>
              <a:gd name="connsiteX6" fmla="*/ 10627113 w 12783015"/>
              <a:gd name="connsiteY6" fmla="*/ 1354 h 3579928"/>
              <a:gd name="connsiteX7" fmla="*/ 12749561 w 12783015"/>
              <a:gd name="connsiteY7" fmla="*/ 870181 h 3579928"/>
              <a:gd name="connsiteX8" fmla="*/ 12783015 w 12783015"/>
              <a:gd name="connsiteY8" fmla="*/ 3490718 h 3579928"/>
              <a:gd name="connsiteX9" fmla="*/ 44604 w 12783015"/>
              <a:gd name="connsiteY9" fmla="*/ 3579928 h 3579928"/>
              <a:gd name="connsiteX10" fmla="*/ 0 w 12783015"/>
              <a:gd name="connsiteY10" fmla="*/ 2029909 h 3579928"/>
              <a:gd name="connsiteX0" fmla="*/ 0 w 12783015"/>
              <a:gd name="connsiteY0" fmla="*/ 1951850 h 3579928"/>
              <a:gd name="connsiteX1" fmla="*/ 1661533 w 12783015"/>
              <a:gd name="connsiteY1" fmla="*/ 2364344 h 3579928"/>
              <a:gd name="connsiteX2" fmla="*/ 3412274 w 12783015"/>
              <a:gd name="connsiteY2" fmla="*/ 1685188 h 3579928"/>
              <a:gd name="connsiteX3" fmla="*/ 5073806 w 12783015"/>
              <a:gd name="connsiteY3" fmla="*/ 1941669 h 3579928"/>
              <a:gd name="connsiteX4" fmla="*/ 6612674 w 12783015"/>
              <a:gd name="connsiteY4" fmla="*/ 837695 h 3579928"/>
              <a:gd name="connsiteX5" fmla="*/ 8530684 w 12783015"/>
              <a:gd name="connsiteY5" fmla="*/ 1728728 h 3579928"/>
              <a:gd name="connsiteX6" fmla="*/ 10627113 w 12783015"/>
              <a:gd name="connsiteY6" fmla="*/ 1354 h 3579928"/>
              <a:gd name="connsiteX7" fmla="*/ 12749561 w 12783015"/>
              <a:gd name="connsiteY7" fmla="*/ 870181 h 3579928"/>
              <a:gd name="connsiteX8" fmla="*/ 12783015 w 12783015"/>
              <a:gd name="connsiteY8" fmla="*/ 3490718 h 3579928"/>
              <a:gd name="connsiteX9" fmla="*/ 44604 w 12783015"/>
              <a:gd name="connsiteY9" fmla="*/ 3579928 h 3579928"/>
              <a:gd name="connsiteX10" fmla="*/ 0 w 12783015"/>
              <a:gd name="connsiteY10" fmla="*/ 1951850 h 3579928"/>
              <a:gd name="connsiteX0" fmla="*/ 0 w 12783015"/>
              <a:gd name="connsiteY0" fmla="*/ 1951850 h 3579928"/>
              <a:gd name="connsiteX1" fmla="*/ 1661533 w 12783015"/>
              <a:gd name="connsiteY1" fmla="*/ 2364344 h 3579928"/>
              <a:gd name="connsiteX2" fmla="*/ 3412274 w 12783015"/>
              <a:gd name="connsiteY2" fmla="*/ 1685188 h 3579928"/>
              <a:gd name="connsiteX3" fmla="*/ 5073806 w 12783015"/>
              <a:gd name="connsiteY3" fmla="*/ 1941669 h 3579928"/>
              <a:gd name="connsiteX4" fmla="*/ 6612674 w 12783015"/>
              <a:gd name="connsiteY4" fmla="*/ 837695 h 3579928"/>
              <a:gd name="connsiteX5" fmla="*/ 8530684 w 12783015"/>
              <a:gd name="connsiteY5" fmla="*/ 1728728 h 3579928"/>
              <a:gd name="connsiteX6" fmla="*/ 10627113 w 12783015"/>
              <a:gd name="connsiteY6" fmla="*/ 1354 h 3579928"/>
              <a:gd name="connsiteX7" fmla="*/ 12749561 w 12783015"/>
              <a:gd name="connsiteY7" fmla="*/ 870181 h 3579928"/>
              <a:gd name="connsiteX8" fmla="*/ 12783015 w 12783015"/>
              <a:gd name="connsiteY8" fmla="*/ 3490718 h 3579928"/>
              <a:gd name="connsiteX9" fmla="*/ 44604 w 12783015"/>
              <a:gd name="connsiteY9" fmla="*/ 3579928 h 3579928"/>
              <a:gd name="connsiteX10" fmla="*/ 0 w 12783015"/>
              <a:gd name="connsiteY10" fmla="*/ 1951850 h 3579928"/>
              <a:gd name="connsiteX0" fmla="*/ 0 w 12783015"/>
              <a:gd name="connsiteY0" fmla="*/ 1951850 h 3579928"/>
              <a:gd name="connsiteX1" fmla="*/ 1661533 w 12783015"/>
              <a:gd name="connsiteY1" fmla="*/ 2364344 h 3579928"/>
              <a:gd name="connsiteX2" fmla="*/ 3412274 w 12783015"/>
              <a:gd name="connsiteY2" fmla="*/ 1685188 h 3579928"/>
              <a:gd name="connsiteX3" fmla="*/ 5073806 w 12783015"/>
              <a:gd name="connsiteY3" fmla="*/ 1941669 h 3579928"/>
              <a:gd name="connsiteX4" fmla="*/ 6612674 w 12783015"/>
              <a:gd name="connsiteY4" fmla="*/ 837695 h 3579928"/>
              <a:gd name="connsiteX5" fmla="*/ 8530684 w 12783015"/>
              <a:gd name="connsiteY5" fmla="*/ 1728728 h 3579928"/>
              <a:gd name="connsiteX6" fmla="*/ 10627113 w 12783015"/>
              <a:gd name="connsiteY6" fmla="*/ 1354 h 3579928"/>
              <a:gd name="connsiteX7" fmla="*/ 12749561 w 12783015"/>
              <a:gd name="connsiteY7" fmla="*/ 870181 h 3579928"/>
              <a:gd name="connsiteX8" fmla="*/ 12783015 w 12783015"/>
              <a:gd name="connsiteY8" fmla="*/ 3490718 h 3579928"/>
              <a:gd name="connsiteX9" fmla="*/ 44604 w 12783015"/>
              <a:gd name="connsiteY9" fmla="*/ 3579928 h 3579928"/>
              <a:gd name="connsiteX10" fmla="*/ 0 w 12783015"/>
              <a:gd name="connsiteY10" fmla="*/ 1951850 h 3579928"/>
              <a:gd name="connsiteX0" fmla="*/ 0 w 12783015"/>
              <a:gd name="connsiteY0" fmla="*/ 1951850 h 3579928"/>
              <a:gd name="connsiteX1" fmla="*/ 1650382 w 12783015"/>
              <a:gd name="connsiteY1" fmla="*/ 2297436 h 3579928"/>
              <a:gd name="connsiteX2" fmla="*/ 3412274 w 12783015"/>
              <a:gd name="connsiteY2" fmla="*/ 1685188 h 3579928"/>
              <a:gd name="connsiteX3" fmla="*/ 5073806 w 12783015"/>
              <a:gd name="connsiteY3" fmla="*/ 1941669 h 3579928"/>
              <a:gd name="connsiteX4" fmla="*/ 6612674 w 12783015"/>
              <a:gd name="connsiteY4" fmla="*/ 837695 h 3579928"/>
              <a:gd name="connsiteX5" fmla="*/ 8530684 w 12783015"/>
              <a:gd name="connsiteY5" fmla="*/ 1728728 h 3579928"/>
              <a:gd name="connsiteX6" fmla="*/ 10627113 w 12783015"/>
              <a:gd name="connsiteY6" fmla="*/ 1354 h 3579928"/>
              <a:gd name="connsiteX7" fmla="*/ 12749561 w 12783015"/>
              <a:gd name="connsiteY7" fmla="*/ 870181 h 3579928"/>
              <a:gd name="connsiteX8" fmla="*/ 12783015 w 12783015"/>
              <a:gd name="connsiteY8" fmla="*/ 3490718 h 3579928"/>
              <a:gd name="connsiteX9" fmla="*/ 44604 w 12783015"/>
              <a:gd name="connsiteY9" fmla="*/ 3579928 h 3579928"/>
              <a:gd name="connsiteX10" fmla="*/ 0 w 12783015"/>
              <a:gd name="connsiteY10" fmla="*/ 1951850 h 3579928"/>
              <a:gd name="connsiteX0" fmla="*/ 0 w 12783015"/>
              <a:gd name="connsiteY0" fmla="*/ 1951850 h 3579928"/>
              <a:gd name="connsiteX1" fmla="*/ 1650382 w 12783015"/>
              <a:gd name="connsiteY1" fmla="*/ 2297436 h 3579928"/>
              <a:gd name="connsiteX2" fmla="*/ 3557240 w 12783015"/>
              <a:gd name="connsiteY2" fmla="*/ 1696340 h 3579928"/>
              <a:gd name="connsiteX3" fmla="*/ 5073806 w 12783015"/>
              <a:gd name="connsiteY3" fmla="*/ 1941669 h 3579928"/>
              <a:gd name="connsiteX4" fmla="*/ 6612674 w 12783015"/>
              <a:gd name="connsiteY4" fmla="*/ 837695 h 3579928"/>
              <a:gd name="connsiteX5" fmla="*/ 8530684 w 12783015"/>
              <a:gd name="connsiteY5" fmla="*/ 1728728 h 3579928"/>
              <a:gd name="connsiteX6" fmla="*/ 10627113 w 12783015"/>
              <a:gd name="connsiteY6" fmla="*/ 1354 h 3579928"/>
              <a:gd name="connsiteX7" fmla="*/ 12749561 w 12783015"/>
              <a:gd name="connsiteY7" fmla="*/ 870181 h 3579928"/>
              <a:gd name="connsiteX8" fmla="*/ 12783015 w 12783015"/>
              <a:gd name="connsiteY8" fmla="*/ 3490718 h 3579928"/>
              <a:gd name="connsiteX9" fmla="*/ 44604 w 12783015"/>
              <a:gd name="connsiteY9" fmla="*/ 3579928 h 3579928"/>
              <a:gd name="connsiteX10" fmla="*/ 0 w 12783015"/>
              <a:gd name="connsiteY10" fmla="*/ 1951850 h 3579928"/>
              <a:gd name="connsiteX0" fmla="*/ 0 w 12783015"/>
              <a:gd name="connsiteY0" fmla="*/ 1951238 h 3579316"/>
              <a:gd name="connsiteX1" fmla="*/ 1650382 w 12783015"/>
              <a:gd name="connsiteY1" fmla="*/ 2296824 h 3579316"/>
              <a:gd name="connsiteX2" fmla="*/ 3557240 w 12783015"/>
              <a:gd name="connsiteY2" fmla="*/ 1695728 h 3579316"/>
              <a:gd name="connsiteX3" fmla="*/ 5073806 w 12783015"/>
              <a:gd name="connsiteY3" fmla="*/ 1941057 h 3579316"/>
              <a:gd name="connsiteX4" fmla="*/ 6612674 w 12783015"/>
              <a:gd name="connsiteY4" fmla="*/ 837083 h 3579316"/>
              <a:gd name="connsiteX5" fmla="*/ 8530684 w 12783015"/>
              <a:gd name="connsiteY5" fmla="*/ 1728116 h 3579316"/>
              <a:gd name="connsiteX6" fmla="*/ 10627113 w 12783015"/>
              <a:gd name="connsiteY6" fmla="*/ 742 h 3579316"/>
              <a:gd name="connsiteX7" fmla="*/ 12749561 w 12783015"/>
              <a:gd name="connsiteY7" fmla="*/ 869569 h 3579316"/>
              <a:gd name="connsiteX8" fmla="*/ 12783015 w 12783015"/>
              <a:gd name="connsiteY8" fmla="*/ 3490106 h 3579316"/>
              <a:gd name="connsiteX9" fmla="*/ 44604 w 12783015"/>
              <a:gd name="connsiteY9" fmla="*/ 3579316 h 3579316"/>
              <a:gd name="connsiteX10" fmla="*/ 0 w 12783015"/>
              <a:gd name="connsiteY10" fmla="*/ 1951238 h 3579316"/>
              <a:gd name="connsiteX0" fmla="*/ 0 w 12783015"/>
              <a:gd name="connsiteY0" fmla="*/ 1951238 h 3579316"/>
              <a:gd name="connsiteX1" fmla="*/ 1650382 w 12783015"/>
              <a:gd name="connsiteY1" fmla="*/ 2296824 h 3579316"/>
              <a:gd name="connsiteX2" fmla="*/ 3166947 w 12783015"/>
              <a:gd name="connsiteY2" fmla="*/ 1662274 h 3579316"/>
              <a:gd name="connsiteX3" fmla="*/ 5073806 w 12783015"/>
              <a:gd name="connsiteY3" fmla="*/ 1941057 h 3579316"/>
              <a:gd name="connsiteX4" fmla="*/ 6612674 w 12783015"/>
              <a:gd name="connsiteY4" fmla="*/ 837083 h 3579316"/>
              <a:gd name="connsiteX5" fmla="*/ 8530684 w 12783015"/>
              <a:gd name="connsiteY5" fmla="*/ 1728116 h 3579316"/>
              <a:gd name="connsiteX6" fmla="*/ 10627113 w 12783015"/>
              <a:gd name="connsiteY6" fmla="*/ 742 h 3579316"/>
              <a:gd name="connsiteX7" fmla="*/ 12749561 w 12783015"/>
              <a:gd name="connsiteY7" fmla="*/ 869569 h 3579316"/>
              <a:gd name="connsiteX8" fmla="*/ 12783015 w 12783015"/>
              <a:gd name="connsiteY8" fmla="*/ 3490106 h 3579316"/>
              <a:gd name="connsiteX9" fmla="*/ 44604 w 12783015"/>
              <a:gd name="connsiteY9" fmla="*/ 3579316 h 3579316"/>
              <a:gd name="connsiteX10" fmla="*/ 0 w 12783015"/>
              <a:gd name="connsiteY10" fmla="*/ 1951238 h 3579316"/>
              <a:gd name="connsiteX0" fmla="*/ 0 w 12783015"/>
              <a:gd name="connsiteY0" fmla="*/ 1951238 h 3579316"/>
              <a:gd name="connsiteX1" fmla="*/ 1650382 w 12783015"/>
              <a:gd name="connsiteY1" fmla="*/ 2296824 h 3579316"/>
              <a:gd name="connsiteX2" fmla="*/ 3166947 w 12783015"/>
              <a:gd name="connsiteY2" fmla="*/ 1662274 h 3579316"/>
              <a:gd name="connsiteX3" fmla="*/ 5073806 w 12783015"/>
              <a:gd name="connsiteY3" fmla="*/ 1941057 h 3579316"/>
              <a:gd name="connsiteX4" fmla="*/ 6612674 w 12783015"/>
              <a:gd name="connsiteY4" fmla="*/ 837083 h 3579316"/>
              <a:gd name="connsiteX5" fmla="*/ 8530684 w 12783015"/>
              <a:gd name="connsiteY5" fmla="*/ 1728116 h 3579316"/>
              <a:gd name="connsiteX6" fmla="*/ 10627113 w 12783015"/>
              <a:gd name="connsiteY6" fmla="*/ 742 h 3579316"/>
              <a:gd name="connsiteX7" fmla="*/ 12749561 w 12783015"/>
              <a:gd name="connsiteY7" fmla="*/ 869569 h 3579316"/>
              <a:gd name="connsiteX8" fmla="*/ 12783015 w 12783015"/>
              <a:gd name="connsiteY8" fmla="*/ 3490106 h 3579316"/>
              <a:gd name="connsiteX9" fmla="*/ 44604 w 12783015"/>
              <a:gd name="connsiteY9" fmla="*/ 3579316 h 3579316"/>
              <a:gd name="connsiteX10" fmla="*/ 0 w 12783015"/>
              <a:gd name="connsiteY10" fmla="*/ 1951238 h 3579316"/>
              <a:gd name="connsiteX0" fmla="*/ 0 w 12783015"/>
              <a:gd name="connsiteY0" fmla="*/ 1951238 h 3579316"/>
              <a:gd name="connsiteX1" fmla="*/ 1405056 w 12783015"/>
              <a:gd name="connsiteY1" fmla="*/ 2263371 h 3579316"/>
              <a:gd name="connsiteX2" fmla="*/ 3166947 w 12783015"/>
              <a:gd name="connsiteY2" fmla="*/ 1662274 h 3579316"/>
              <a:gd name="connsiteX3" fmla="*/ 5073806 w 12783015"/>
              <a:gd name="connsiteY3" fmla="*/ 1941057 h 3579316"/>
              <a:gd name="connsiteX4" fmla="*/ 6612674 w 12783015"/>
              <a:gd name="connsiteY4" fmla="*/ 837083 h 3579316"/>
              <a:gd name="connsiteX5" fmla="*/ 8530684 w 12783015"/>
              <a:gd name="connsiteY5" fmla="*/ 1728116 h 3579316"/>
              <a:gd name="connsiteX6" fmla="*/ 10627113 w 12783015"/>
              <a:gd name="connsiteY6" fmla="*/ 742 h 3579316"/>
              <a:gd name="connsiteX7" fmla="*/ 12749561 w 12783015"/>
              <a:gd name="connsiteY7" fmla="*/ 869569 h 3579316"/>
              <a:gd name="connsiteX8" fmla="*/ 12783015 w 12783015"/>
              <a:gd name="connsiteY8" fmla="*/ 3490106 h 3579316"/>
              <a:gd name="connsiteX9" fmla="*/ 44604 w 12783015"/>
              <a:gd name="connsiteY9" fmla="*/ 3579316 h 3579316"/>
              <a:gd name="connsiteX10" fmla="*/ 0 w 12783015"/>
              <a:gd name="connsiteY10" fmla="*/ 1951238 h 3579316"/>
              <a:gd name="connsiteX0" fmla="*/ 0 w 12783015"/>
              <a:gd name="connsiteY0" fmla="*/ 1951238 h 3579316"/>
              <a:gd name="connsiteX1" fmla="*/ 1405056 w 12783015"/>
              <a:gd name="connsiteY1" fmla="*/ 2263371 h 3579316"/>
              <a:gd name="connsiteX2" fmla="*/ 3166947 w 12783015"/>
              <a:gd name="connsiteY2" fmla="*/ 1662274 h 3579316"/>
              <a:gd name="connsiteX3" fmla="*/ 4850781 w 12783015"/>
              <a:gd name="connsiteY3" fmla="*/ 1941057 h 3579316"/>
              <a:gd name="connsiteX4" fmla="*/ 6612674 w 12783015"/>
              <a:gd name="connsiteY4" fmla="*/ 837083 h 3579316"/>
              <a:gd name="connsiteX5" fmla="*/ 8530684 w 12783015"/>
              <a:gd name="connsiteY5" fmla="*/ 1728116 h 3579316"/>
              <a:gd name="connsiteX6" fmla="*/ 10627113 w 12783015"/>
              <a:gd name="connsiteY6" fmla="*/ 742 h 3579316"/>
              <a:gd name="connsiteX7" fmla="*/ 12749561 w 12783015"/>
              <a:gd name="connsiteY7" fmla="*/ 869569 h 3579316"/>
              <a:gd name="connsiteX8" fmla="*/ 12783015 w 12783015"/>
              <a:gd name="connsiteY8" fmla="*/ 3490106 h 3579316"/>
              <a:gd name="connsiteX9" fmla="*/ 44604 w 12783015"/>
              <a:gd name="connsiteY9" fmla="*/ 3579316 h 3579316"/>
              <a:gd name="connsiteX10" fmla="*/ 0 w 12783015"/>
              <a:gd name="connsiteY10" fmla="*/ 1951238 h 3579316"/>
              <a:gd name="connsiteX0" fmla="*/ 0 w 12783015"/>
              <a:gd name="connsiteY0" fmla="*/ 1951238 h 3579316"/>
              <a:gd name="connsiteX1" fmla="*/ 1405056 w 12783015"/>
              <a:gd name="connsiteY1" fmla="*/ 2263371 h 3579316"/>
              <a:gd name="connsiteX2" fmla="*/ 3166947 w 12783015"/>
              <a:gd name="connsiteY2" fmla="*/ 1662274 h 3579316"/>
              <a:gd name="connsiteX3" fmla="*/ 4850781 w 12783015"/>
              <a:gd name="connsiteY3" fmla="*/ 1941057 h 3579316"/>
              <a:gd name="connsiteX4" fmla="*/ 6612674 w 12783015"/>
              <a:gd name="connsiteY4" fmla="*/ 837083 h 3579316"/>
              <a:gd name="connsiteX5" fmla="*/ 8530684 w 12783015"/>
              <a:gd name="connsiteY5" fmla="*/ 1728116 h 3579316"/>
              <a:gd name="connsiteX6" fmla="*/ 10627113 w 12783015"/>
              <a:gd name="connsiteY6" fmla="*/ 742 h 3579316"/>
              <a:gd name="connsiteX7" fmla="*/ 12749561 w 12783015"/>
              <a:gd name="connsiteY7" fmla="*/ 869569 h 3579316"/>
              <a:gd name="connsiteX8" fmla="*/ 12783015 w 12783015"/>
              <a:gd name="connsiteY8" fmla="*/ 3490106 h 3579316"/>
              <a:gd name="connsiteX9" fmla="*/ 44604 w 12783015"/>
              <a:gd name="connsiteY9" fmla="*/ 3579316 h 3579316"/>
              <a:gd name="connsiteX10" fmla="*/ 0 w 12783015"/>
              <a:gd name="connsiteY10" fmla="*/ 1951238 h 3579316"/>
              <a:gd name="connsiteX0" fmla="*/ 0 w 12783015"/>
              <a:gd name="connsiteY0" fmla="*/ 1951238 h 3579316"/>
              <a:gd name="connsiteX1" fmla="*/ 1405056 w 12783015"/>
              <a:gd name="connsiteY1" fmla="*/ 2263371 h 3579316"/>
              <a:gd name="connsiteX2" fmla="*/ 3166947 w 12783015"/>
              <a:gd name="connsiteY2" fmla="*/ 1662274 h 3579316"/>
              <a:gd name="connsiteX3" fmla="*/ 4728118 w 12783015"/>
              <a:gd name="connsiteY3" fmla="*/ 1952209 h 3579316"/>
              <a:gd name="connsiteX4" fmla="*/ 6612674 w 12783015"/>
              <a:gd name="connsiteY4" fmla="*/ 837083 h 3579316"/>
              <a:gd name="connsiteX5" fmla="*/ 8530684 w 12783015"/>
              <a:gd name="connsiteY5" fmla="*/ 1728116 h 3579316"/>
              <a:gd name="connsiteX6" fmla="*/ 10627113 w 12783015"/>
              <a:gd name="connsiteY6" fmla="*/ 742 h 3579316"/>
              <a:gd name="connsiteX7" fmla="*/ 12749561 w 12783015"/>
              <a:gd name="connsiteY7" fmla="*/ 869569 h 3579316"/>
              <a:gd name="connsiteX8" fmla="*/ 12783015 w 12783015"/>
              <a:gd name="connsiteY8" fmla="*/ 3490106 h 3579316"/>
              <a:gd name="connsiteX9" fmla="*/ 44604 w 12783015"/>
              <a:gd name="connsiteY9" fmla="*/ 3579316 h 3579316"/>
              <a:gd name="connsiteX10" fmla="*/ 0 w 12783015"/>
              <a:gd name="connsiteY10" fmla="*/ 1951238 h 3579316"/>
              <a:gd name="connsiteX0" fmla="*/ 0 w 12783015"/>
              <a:gd name="connsiteY0" fmla="*/ 1951238 h 3579316"/>
              <a:gd name="connsiteX1" fmla="*/ 1405056 w 12783015"/>
              <a:gd name="connsiteY1" fmla="*/ 2263371 h 3579316"/>
              <a:gd name="connsiteX2" fmla="*/ 2720899 w 12783015"/>
              <a:gd name="connsiteY2" fmla="*/ 1729181 h 3579316"/>
              <a:gd name="connsiteX3" fmla="*/ 4728118 w 12783015"/>
              <a:gd name="connsiteY3" fmla="*/ 1952209 h 3579316"/>
              <a:gd name="connsiteX4" fmla="*/ 6612674 w 12783015"/>
              <a:gd name="connsiteY4" fmla="*/ 837083 h 3579316"/>
              <a:gd name="connsiteX5" fmla="*/ 8530684 w 12783015"/>
              <a:gd name="connsiteY5" fmla="*/ 1728116 h 3579316"/>
              <a:gd name="connsiteX6" fmla="*/ 10627113 w 12783015"/>
              <a:gd name="connsiteY6" fmla="*/ 742 h 3579316"/>
              <a:gd name="connsiteX7" fmla="*/ 12749561 w 12783015"/>
              <a:gd name="connsiteY7" fmla="*/ 869569 h 3579316"/>
              <a:gd name="connsiteX8" fmla="*/ 12783015 w 12783015"/>
              <a:gd name="connsiteY8" fmla="*/ 3490106 h 3579316"/>
              <a:gd name="connsiteX9" fmla="*/ 44604 w 12783015"/>
              <a:gd name="connsiteY9" fmla="*/ 3579316 h 3579316"/>
              <a:gd name="connsiteX10" fmla="*/ 0 w 12783015"/>
              <a:gd name="connsiteY10" fmla="*/ 1951238 h 3579316"/>
              <a:gd name="connsiteX0" fmla="*/ 0 w 12783015"/>
              <a:gd name="connsiteY0" fmla="*/ 1951238 h 3579316"/>
              <a:gd name="connsiteX1" fmla="*/ 825192 w 12783015"/>
              <a:gd name="connsiteY1" fmla="*/ 2229918 h 3579316"/>
              <a:gd name="connsiteX2" fmla="*/ 2720899 w 12783015"/>
              <a:gd name="connsiteY2" fmla="*/ 1729181 h 3579316"/>
              <a:gd name="connsiteX3" fmla="*/ 4728118 w 12783015"/>
              <a:gd name="connsiteY3" fmla="*/ 1952209 h 3579316"/>
              <a:gd name="connsiteX4" fmla="*/ 6612674 w 12783015"/>
              <a:gd name="connsiteY4" fmla="*/ 837083 h 3579316"/>
              <a:gd name="connsiteX5" fmla="*/ 8530684 w 12783015"/>
              <a:gd name="connsiteY5" fmla="*/ 1728116 h 3579316"/>
              <a:gd name="connsiteX6" fmla="*/ 10627113 w 12783015"/>
              <a:gd name="connsiteY6" fmla="*/ 742 h 3579316"/>
              <a:gd name="connsiteX7" fmla="*/ 12749561 w 12783015"/>
              <a:gd name="connsiteY7" fmla="*/ 869569 h 3579316"/>
              <a:gd name="connsiteX8" fmla="*/ 12783015 w 12783015"/>
              <a:gd name="connsiteY8" fmla="*/ 3490106 h 3579316"/>
              <a:gd name="connsiteX9" fmla="*/ 44604 w 12783015"/>
              <a:gd name="connsiteY9" fmla="*/ 3579316 h 3579316"/>
              <a:gd name="connsiteX10" fmla="*/ 0 w 12783015"/>
              <a:gd name="connsiteY10" fmla="*/ 1951238 h 3579316"/>
              <a:gd name="connsiteX0" fmla="*/ 0 w 13652811"/>
              <a:gd name="connsiteY0" fmla="*/ 1917784 h 3579316"/>
              <a:gd name="connsiteX1" fmla="*/ 1694988 w 13652811"/>
              <a:gd name="connsiteY1" fmla="*/ 2229918 h 3579316"/>
              <a:gd name="connsiteX2" fmla="*/ 3590695 w 13652811"/>
              <a:gd name="connsiteY2" fmla="*/ 1729181 h 3579316"/>
              <a:gd name="connsiteX3" fmla="*/ 5597914 w 13652811"/>
              <a:gd name="connsiteY3" fmla="*/ 1952209 h 3579316"/>
              <a:gd name="connsiteX4" fmla="*/ 7482470 w 13652811"/>
              <a:gd name="connsiteY4" fmla="*/ 837083 h 3579316"/>
              <a:gd name="connsiteX5" fmla="*/ 9400480 w 13652811"/>
              <a:gd name="connsiteY5" fmla="*/ 1728116 h 3579316"/>
              <a:gd name="connsiteX6" fmla="*/ 11496909 w 13652811"/>
              <a:gd name="connsiteY6" fmla="*/ 742 h 3579316"/>
              <a:gd name="connsiteX7" fmla="*/ 13619357 w 13652811"/>
              <a:gd name="connsiteY7" fmla="*/ 869569 h 3579316"/>
              <a:gd name="connsiteX8" fmla="*/ 13652811 w 13652811"/>
              <a:gd name="connsiteY8" fmla="*/ 3490106 h 3579316"/>
              <a:gd name="connsiteX9" fmla="*/ 914400 w 13652811"/>
              <a:gd name="connsiteY9" fmla="*/ 3579316 h 3579316"/>
              <a:gd name="connsiteX10" fmla="*/ 0 w 13652811"/>
              <a:gd name="connsiteY10" fmla="*/ 1917784 h 3579316"/>
              <a:gd name="connsiteX0" fmla="*/ 0 w 13652811"/>
              <a:gd name="connsiteY0" fmla="*/ 1917784 h 3579316"/>
              <a:gd name="connsiteX1" fmla="*/ 1694988 w 13652811"/>
              <a:gd name="connsiteY1" fmla="*/ 2229918 h 3579316"/>
              <a:gd name="connsiteX2" fmla="*/ 3590695 w 13652811"/>
              <a:gd name="connsiteY2" fmla="*/ 1729181 h 3579316"/>
              <a:gd name="connsiteX3" fmla="*/ 5597914 w 13652811"/>
              <a:gd name="connsiteY3" fmla="*/ 1952209 h 3579316"/>
              <a:gd name="connsiteX4" fmla="*/ 7482470 w 13652811"/>
              <a:gd name="connsiteY4" fmla="*/ 837083 h 3579316"/>
              <a:gd name="connsiteX5" fmla="*/ 9400480 w 13652811"/>
              <a:gd name="connsiteY5" fmla="*/ 1728116 h 3579316"/>
              <a:gd name="connsiteX6" fmla="*/ 11496909 w 13652811"/>
              <a:gd name="connsiteY6" fmla="*/ 742 h 3579316"/>
              <a:gd name="connsiteX7" fmla="*/ 13619357 w 13652811"/>
              <a:gd name="connsiteY7" fmla="*/ 869569 h 3579316"/>
              <a:gd name="connsiteX8" fmla="*/ 13652811 w 13652811"/>
              <a:gd name="connsiteY8" fmla="*/ 3490106 h 3579316"/>
              <a:gd name="connsiteX9" fmla="*/ 914400 w 13652811"/>
              <a:gd name="connsiteY9" fmla="*/ 3579316 h 3579316"/>
              <a:gd name="connsiteX10" fmla="*/ 55757 w 13652811"/>
              <a:gd name="connsiteY10" fmla="*/ 3568359 h 3579316"/>
              <a:gd name="connsiteX11" fmla="*/ 0 w 13652811"/>
              <a:gd name="connsiteY11" fmla="*/ 1917784 h 3579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811" h="3579316">
                <a:moveTo>
                  <a:pt x="0" y="1917784"/>
                </a:moveTo>
                <a:cubicBezTo>
                  <a:pt x="470210" y="1893607"/>
                  <a:pt x="1096539" y="2261352"/>
                  <a:pt x="1694988" y="2229918"/>
                </a:cubicBezTo>
                <a:cubicBezTo>
                  <a:pt x="2293437" y="2198484"/>
                  <a:pt x="2940207" y="1775466"/>
                  <a:pt x="3590695" y="1729181"/>
                </a:cubicBezTo>
                <a:cubicBezTo>
                  <a:pt x="4241183" y="1682896"/>
                  <a:pt x="4949285" y="2100892"/>
                  <a:pt x="5597914" y="1952209"/>
                </a:cubicBezTo>
                <a:cubicBezTo>
                  <a:pt x="6246543" y="1803526"/>
                  <a:pt x="6848709" y="874432"/>
                  <a:pt x="7482470" y="837083"/>
                </a:cubicBezTo>
                <a:cubicBezTo>
                  <a:pt x="8116231" y="799734"/>
                  <a:pt x="8575290" y="1711389"/>
                  <a:pt x="9400480" y="1728116"/>
                </a:cubicBezTo>
                <a:cubicBezTo>
                  <a:pt x="10225670" y="1744843"/>
                  <a:pt x="10738007" y="32321"/>
                  <a:pt x="11496909" y="742"/>
                </a:cubicBezTo>
                <a:cubicBezTo>
                  <a:pt x="12255811" y="-30837"/>
                  <a:pt x="12916210" y="957082"/>
                  <a:pt x="13619357" y="869569"/>
                </a:cubicBezTo>
                <a:lnTo>
                  <a:pt x="13652811" y="3490106"/>
                </a:lnTo>
                <a:lnTo>
                  <a:pt x="914400" y="3579316"/>
                </a:lnTo>
                <a:cubicBezTo>
                  <a:pt x="899532" y="3557078"/>
                  <a:pt x="70625" y="3590597"/>
                  <a:pt x="55757" y="3568359"/>
                </a:cubicBezTo>
                <a:lnTo>
                  <a:pt x="0" y="1917784"/>
                </a:lnTo>
                <a:close/>
              </a:path>
            </a:pathLst>
          </a:custGeom>
          <a:solidFill>
            <a:schemeClr val="bg1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Rectangle 6">
            <a:extLst>
              <a:ext uri="{FF2B5EF4-FFF2-40B4-BE49-F238E27FC236}">
                <a16:creationId xmlns="" xmlns:a16="http://schemas.microsoft.com/office/drawing/2014/main" id="{88E36496-1F3A-7D45-BBDC-1629F532B9E5}"/>
              </a:ext>
            </a:extLst>
          </p:cNvPr>
          <p:cNvSpPr/>
          <p:nvPr userDrawn="1"/>
        </p:nvSpPr>
        <p:spPr>
          <a:xfrm>
            <a:off x="-111510" y="3166755"/>
            <a:ext cx="12381572" cy="3802565"/>
          </a:xfrm>
          <a:custGeom>
            <a:avLst/>
            <a:gdLst>
              <a:gd name="connsiteX0" fmla="*/ 0 w 12192000"/>
              <a:gd name="connsiteY0" fmla="*/ 0 h 769434"/>
              <a:gd name="connsiteX1" fmla="*/ 12192000 w 12192000"/>
              <a:gd name="connsiteY1" fmla="*/ 0 h 769434"/>
              <a:gd name="connsiteX2" fmla="*/ 12192000 w 12192000"/>
              <a:gd name="connsiteY2" fmla="*/ 769434 h 769434"/>
              <a:gd name="connsiteX3" fmla="*/ 0 w 12192000"/>
              <a:gd name="connsiteY3" fmla="*/ 769434 h 769434"/>
              <a:gd name="connsiteX4" fmla="*/ 0 w 12192000"/>
              <a:gd name="connsiteY4" fmla="*/ 0 h 769434"/>
              <a:gd name="connsiteX0" fmla="*/ 0 w 12192000"/>
              <a:gd name="connsiteY0" fmla="*/ 0 h 769434"/>
              <a:gd name="connsiteX1" fmla="*/ 7560527 w 12192000"/>
              <a:gd name="connsiteY1" fmla="*/ 12120 h 769434"/>
              <a:gd name="connsiteX2" fmla="*/ 12192000 w 12192000"/>
              <a:gd name="connsiteY2" fmla="*/ 0 h 769434"/>
              <a:gd name="connsiteX3" fmla="*/ 12192000 w 12192000"/>
              <a:gd name="connsiteY3" fmla="*/ 769434 h 769434"/>
              <a:gd name="connsiteX4" fmla="*/ 0 w 12192000"/>
              <a:gd name="connsiteY4" fmla="*/ 769434 h 769434"/>
              <a:gd name="connsiteX5" fmla="*/ 0 w 12192000"/>
              <a:gd name="connsiteY5" fmla="*/ 0 h 769434"/>
              <a:gd name="connsiteX0" fmla="*/ 0 w 12192000"/>
              <a:gd name="connsiteY0" fmla="*/ 0 h 769434"/>
              <a:gd name="connsiteX1" fmla="*/ 7560527 w 12192000"/>
              <a:gd name="connsiteY1" fmla="*/ 12120 h 769434"/>
              <a:gd name="connsiteX2" fmla="*/ 9623502 w 12192000"/>
              <a:gd name="connsiteY2" fmla="*/ 969 h 769434"/>
              <a:gd name="connsiteX3" fmla="*/ 12192000 w 12192000"/>
              <a:gd name="connsiteY3" fmla="*/ 0 h 769434"/>
              <a:gd name="connsiteX4" fmla="*/ 12192000 w 12192000"/>
              <a:gd name="connsiteY4" fmla="*/ 769434 h 769434"/>
              <a:gd name="connsiteX5" fmla="*/ 0 w 12192000"/>
              <a:gd name="connsiteY5" fmla="*/ 769434 h 769434"/>
              <a:gd name="connsiteX6" fmla="*/ 0 w 12192000"/>
              <a:gd name="connsiteY6" fmla="*/ 0 h 769434"/>
              <a:gd name="connsiteX0" fmla="*/ 0 w 12192000"/>
              <a:gd name="connsiteY0" fmla="*/ 0 h 769434"/>
              <a:gd name="connsiteX1" fmla="*/ 4025590 w 12192000"/>
              <a:gd name="connsiteY1" fmla="*/ 23271 h 769434"/>
              <a:gd name="connsiteX2" fmla="*/ 7560527 w 12192000"/>
              <a:gd name="connsiteY2" fmla="*/ 12120 h 769434"/>
              <a:gd name="connsiteX3" fmla="*/ 9623502 w 12192000"/>
              <a:gd name="connsiteY3" fmla="*/ 969 h 769434"/>
              <a:gd name="connsiteX4" fmla="*/ 12192000 w 12192000"/>
              <a:gd name="connsiteY4" fmla="*/ 0 h 769434"/>
              <a:gd name="connsiteX5" fmla="*/ 12192000 w 12192000"/>
              <a:gd name="connsiteY5" fmla="*/ 769434 h 769434"/>
              <a:gd name="connsiteX6" fmla="*/ 0 w 12192000"/>
              <a:gd name="connsiteY6" fmla="*/ 769434 h 769434"/>
              <a:gd name="connsiteX7" fmla="*/ 0 w 12192000"/>
              <a:gd name="connsiteY7" fmla="*/ 0 h 769434"/>
              <a:gd name="connsiteX0" fmla="*/ 0 w 12192000"/>
              <a:gd name="connsiteY0" fmla="*/ 0 h 769434"/>
              <a:gd name="connsiteX1" fmla="*/ 4025590 w 12192000"/>
              <a:gd name="connsiteY1" fmla="*/ 23271 h 769434"/>
              <a:gd name="connsiteX2" fmla="*/ 5564459 w 12192000"/>
              <a:gd name="connsiteY2" fmla="*/ 34423 h 769434"/>
              <a:gd name="connsiteX3" fmla="*/ 7560527 w 12192000"/>
              <a:gd name="connsiteY3" fmla="*/ 12120 h 769434"/>
              <a:gd name="connsiteX4" fmla="*/ 9623502 w 12192000"/>
              <a:gd name="connsiteY4" fmla="*/ 969 h 769434"/>
              <a:gd name="connsiteX5" fmla="*/ 12192000 w 12192000"/>
              <a:gd name="connsiteY5" fmla="*/ 0 h 769434"/>
              <a:gd name="connsiteX6" fmla="*/ 12192000 w 12192000"/>
              <a:gd name="connsiteY6" fmla="*/ 769434 h 769434"/>
              <a:gd name="connsiteX7" fmla="*/ 0 w 12192000"/>
              <a:gd name="connsiteY7" fmla="*/ 769434 h 769434"/>
              <a:gd name="connsiteX8" fmla="*/ 0 w 12192000"/>
              <a:gd name="connsiteY8" fmla="*/ 0 h 769434"/>
              <a:gd name="connsiteX0" fmla="*/ 0 w 12214303"/>
              <a:gd name="connsiteY0" fmla="*/ 2107581 h 2877015"/>
              <a:gd name="connsiteX1" fmla="*/ 4025590 w 12214303"/>
              <a:gd name="connsiteY1" fmla="*/ 2130852 h 2877015"/>
              <a:gd name="connsiteX2" fmla="*/ 5564459 w 12214303"/>
              <a:gd name="connsiteY2" fmla="*/ 2142004 h 2877015"/>
              <a:gd name="connsiteX3" fmla="*/ 7560527 w 12214303"/>
              <a:gd name="connsiteY3" fmla="*/ 2119701 h 2877015"/>
              <a:gd name="connsiteX4" fmla="*/ 9623502 w 12214303"/>
              <a:gd name="connsiteY4" fmla="*/ 2108550 h 2877015"/>
              <a:gd name="connsiteX5" fmla="*/ 12214303 w 12214303"/>
              <a:gd name="connsiteY5" fmla="*/ 0 h 2877015"/>
              <a:gd name="connsiteX6" fmla="*/ 12192000 w 12214303"/>
              <a:gd name="connsiteY6" fmla="*/ 2877015 h 2877015"/>
              <a:gd name="connsiteX7" fmla="*/ 0 w 12214303"/>
              <a:gd name="connsiteY7" fmla="*/ 2877015 h 2877015"/>
              <a:gd name="connsiteX8" fmla="*/ 0 w 12214303"/>
              <a:gd name="connsiteY8" fmla="*/ 2107581 h 2877015"/>
              <a:gd name="connsiteX0" fmla="*/ 0 w 12214303"/>
              <a:gd name="connsiteY0" fmla="*/ 2107581 h 2877015"/>
              <a:gd name="connsiteX1" fmla="*/ 4025590 w 12214303"/>
              <a:gd name="connsiteY1" fmla="*/ 2130852 h 2877015"/>
              <a:gd name="connsiteX2" fmla="*/ 5564459 w 12214303"/>
              <a:gd name="connsiteY2" fmla="*/ 2142004 h 2877015"/>
              <a:gd name="connsiteX3" fmla="*/ 7560527 w 12214303"/>
              <a:gd name="connsiteY3" fmla="*/ 2119701 h 2877015"/>
              <a:gd name="connsiteX4" fmla="*/ 9645805 w 12214303"/>
              <a:gd name="connsiteY4" fmla="*/ 1261057 h 2877015"/>
              <a:gd name="connsiteX5" fmla="*/ 12214303 w 12214303"/>
              <a:gd name="connsiteY5" fmla="*/ 0 h 2877015"/>
              <a:gd name="connsiteX6" fmla="*/ 12192000 w 12214303"/>
              <a:gd name="connsiteY6" fmla="*/ 2877015 h 2877015"/>
              <a:gd name="connsiteX7" fmla="*/ 0 w 12214303"/>
              <a:gd name="connsiteY7" fmla="*/ 2877015 h 2877015"/>
              <a:gd name="connsiteX8" fmla="*/ 0 w 12214303"/>
              <a:gd name="connsiteY8" fmla="*/ 2107581 h 2877015"/>
              <a:gd name="connsiteX0" fmla="*/ 0 w 12214303"/>
              <a:gd name="connsiteY0" fmla="*/ 2147260 h 2916694"/>
              <a:gd name="connsiteX1" fmla="*/ 4025590 w 12214303"/>
              <a:gd name="connsiteY1" fmla="*/ 2170531 h 2916694"/>
              <a:gd name="connsiteX2" fmla="*/ 5564459 w 12214303"/>
              <a:gd name="connsiteY2" fmla="*/ 2181683 h 2916694"/>
              <a:gd name="connsiteX3" fmla="*/ 7560527 w 12214303"/>
              <a:gd name="connsiteY3" fmla="*/ 2159380 h 2916694"/>
              <a:gd name="connsiteX4" fmla="*/ 9645805 w 12214303"/>
              <a:gd name="connsiteY4" fmla="*/ 1300736 h 2916694"/>
              <a:gd name="connsiteX5" fmla="*/ 12214303 w 12214303"/>
              <a:gd name="connsiteY5" fmla="*/ 39679 h 2916694"/>
              <a:gd name="connsiteX6" fmla="*/ 12192000 w 12214303"/>
              <a:gd name="connsiteY6" fmla="*/ 2916694 h 2916694"/>
              <a:gd name="connsiteX7" fmla="*/ 0 w 12214303"/>
              <a:gd name="connsiteY7" fmla="*/ 2916694 h 2916694"/>
              <a:gd name="connsiteX8" fmla="*/ 0 w 12214303"/>
              <a:gd name="connsiteY8" fmla="*/ 2147260 h 2916694"/>
              <a:gd name="connsiteX0" fmla="*/ 0 w 12214303"/>
              <a:gd name="connsiteY0" fmla="*/ 2141981 h 2911415"/>
              <a:gd name="connsiteX1" fmla="*/ 4025590 w 12214303"/>
              <a:gd name="connsiteY1" fmla="*/ 2165252 h 2911415"/>
              <a:gd name="connsiteX2" fmla="*/ 5564459 w 12214303"/>
              <a:gd name="connsiteY2" fmla="*/ 2176404 h 2911415"/>
              <a:gd name="connsiteX3" fmla="*/ 7627435 w 12214303"/>
              <a:gd name="connsiteY3" fmla="*/ 838257 h 2911415"/>
              <a:gd name="connsiteX4" fmla="*/ 9645805 w 12214303"/>
              <a:gd name="connsiteY4" fmla="*/ 1295457 h 2911415"/>
              <a:gd name="connsiteX5" fmla="*/ 12214303 w 12214303"/>
              <a:gd name="connsiteY5" fmla="*/ 34400 h 2911415"/>
              <a:gd name="connsiteX6" fmla="*/ 12192000 w 12214303"/>
              <a:gd name="connsiteY6" fmla="*/ 2911415 h 2911415"/>
              <a:gd name="connsiteX7" fmla="*/ 0 w 12214303"/>
              <a:gd name="connsiteY7" fmla="*/ 2911415 h 2911415"/>
              <a:gd name="connsiteX8" fmla="*/ 0 w 12214303"/>
              <a:gd name="connsiteY8" fmla="*/ 2141981 h 2911415"/>
              <a:gd name="connsiteX0" fmla="*/ 0 w 12214303"/>
              <a:gd name="connsiteY0" fmla="*/ 2141981 h 2911415"/>
              <a:gd name="connsiteX1" fmla="*/ 4025590 w 12214303"/>
              <a:gd name="connsiteY1" fmla="*/ 2165252 h 2911415"/>
              <a:gd name="connsiteX2" fmla="*/ 5564459 w 12214303"/>
              <a:gd name="connsiteY2" fmla="*/ 2176404 h 2911415"/>
              <a:gd name="connsiteX3" fmla="*/ 7627435 w 12214303"/>
              <a:gd name="connsiteY3" fmla="*/ 838257 h 2911415"/>
              <a:gd name="connsiteX4" fmla="*/ 9645805 w 12214303"/>
              <a:gd name="connsiteY4" fmla="*/ 1295457 h 2911415"/>
              <a:gd name="connsiteX5" fmla="*/ 12214303 w 12214303"/>
              <a:gd name="connsiteY5" fmla="*/ 34400 h 2911415"/>
              <a:gd name="connsiteX6" fmla="*/ 12192000 w 12214303"/>
              <a:gd name="connsiteY6" fmla="*/ 2911415 h 2911415"/>
              <a:gd name="connsiteX7" fmla="*/ 0 w 12214303"/>
              <a:gd name="connsiteY7" fmla="*/ 2911415 h 2911415"/>
              <a:gd name="connsiteX8" fmla="*/ 0 w 12214303"/>
              <a:gd name="connsiteY8" fmla="*/ 2141981 h 2911415"/>
              <a:gd name="connsiteX0" fmla="*/ 0 w 12214303"/>
              <a:gd name="connsiteY0" fmla="*/ 2141981 h 2911415"/>
              <a:gd name="connsiteX1" fmla="*/ 4025590 w 12214303"/>
              <a:gd name="connsiteY1" fmla="*/ 2165252 h 2911415"/>
              <a:gd name="connsiteX2" fmla="*/ 5564459 w 12214303"/>
              <a:gd name="connsiteY2" fmla="*/ 2176404 h 2911415"/>
              <a:gd name="connsiteX3" fmla="*/ 7627435 w 12214303"/>
              <a:gd name="connsiteY3" fmla="*/ 838257 h 2911415"/>
              <a:gd name="connsiteX4" fmla="*/ 9645805 w 12214303"/>
              <a:gd name="connsiteY4" fmla="*/ 1295457 h 2911415"/>
              <a:gd name="connsiteX5" fmla="*/ 12214303 w 12214303"/>
              <a:gd name="connsiteY5" fmla="*/ 34400 h 2911415"/>
              <a:gd name="connsiteX6" fmla="*/ 12192000 w 12214303"/>
              <a:gd name="connsiteY6" fmla="*/ 2911415 h 2911415"/>
              <a:gd name="connsiteX7" fmla="*/ 0 w 12214303"/>
              <a:gd name="connsiteY7" fmla="*/ 2911415 h 2911415"/>
              <a:gd name="connsiteX8" fmla="*/ 0 w 12214303"/>
              <a:gd name="connsiteY8" fmla="*/ 2141981 h 2911415"/>
              <a:gd name="connsiteX0" fmla="*/ 0 w 12214303"/>
              <a:gd name="connsiteY0" fmla="*/ 2107581 h 2877015"/>
              <a:gd name="connsiteX1" fmla="*/ 4025590 w 12214303"/>
              <a:gd name="connsiteY1" fmla="*/ 2130852 h 2877015"/>
              <a:gd name="connsiteX2" fmla="*/ 5564459 w 12214303"/>
              <a:gd name="connsiteY2" fmla="*/ 2142004 h 2877015"/>
              <a:gd name="connsiteX3" fmla="*/ 7627435 w 12214303"/>
              <a:gd name="connsiteY3" fmla="*/ 803857 h 2877015"/>
              <a:gd name="connsiteX4" fmla="*/ 9645805 w 12214303"/>
              <a:gd name="connsiteY4" fmla="*/ 1261057 h 2877015"/>
              <a:gd name="connsiteX5" fmla="*/ 12214303 w 12214303"/>
              <a:gd name="connsiteY5" fmla="*/ 0 h 2877015"/>
              <a:gd name="connsiteX6" fmla="*/ 12192000 w 12214303"/>
              <a:gd name="connsiteY6" fmla="*/ 2877015 h 2877015"/>
              <a:gd name="connsiteX7" fmla="*/ 0 w 12214303"/>
              <a:gd name="connsiteY7" fmla="*/ 2877015 h 2877015"/>
              <a:gd name="connsiteX8" fmla="*/ 0 w 12214303"/>
              <a:gd name="connsiteY8" fmla="*/ 2107581 h 2877015"/>
              <a:gd name="connsiteX0" fmla="*/ 0 w 12236605"/>
              <a:gd name="connsiteY0" fmla="*/ 2854712 h 3624146"/>
              <a:gd name="connsiteX1" fmla="*/ 4025590 w 12236605"/>
              <a:gd name="connsiteY1" fmla="*/ 2877983 h 3624146"/>
              <a:gd name="connsiteX2" fmla="*/ 5564459 w 12236605"/>
              <a:gd name="connsiteY2" fmla="*/ 2889135 h 3624146"/>
              <a:gd name="connsiteX3" fmla="*/ 7627435 w 12236605"/>
              <a:gd name="connsiteY3" fmla="*/ 1550988 h 3624146"/>
              <a:gd name="connsiteX4" fmla="*/ 9645805 w 12236605"/>
              <a:gd name="connsiteY4" fmla="*/ 2008188 h 3624146"/>
              <a:gd name="connsiteX5" fmla="*/ 12236605 w 12236605"/>
              <a:gd name="connsiteY5" fmla="*/ 0 h 3624146"/>
              <a:gd name="connsiteX6" fmla="*/ 12192000 w 12236605"/>
              <a:gd name="connsiteY6" fmla="*/ 3624146 h 3624146"/>
              <a:gd name="connsiteX7" fmla="*/ 0 w 12236605"/>
              <a:gd name="connsiteY7" fmla="*/ 3624146 h 3624146"/>
              <a:gd name="connsiteX8" fmla="*/ 0 w 12236605"/>
              <a:gd name="connsiteY8" fmla="*/ 2854712 h 3624146"/>
              <a:gd name="connsiteX0" fmla="*/ 0 w 12270059"/>
              <a:gd name="connsiteY0" fmla="*/ 2854712 h 3691053"/>
              <a:gd name="connsiteX1" fmla="*/ 4025590 w 12270059"/>
              <a:gd name="connsiteY1" fmla="*/ 2877983 h 3691053"/>
              <a:gd name="connsiteX2" fmla="*/ 5564459 w 12270059"/>
              <a:gd name="connsiteY2" fmla="*/ 2889135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2854712 h 3691053"/>
              <a:gd name="connsiteX0" fmla="*/ 0 w 12270059"/>
              <a:gd name="connsiteY0" fmla="*/ 2854712 h 3691053"/>
              <a:gd name="connsiteX1" fmla="*/ 3914078 w 12270059"/>
              <a:gd name="connsiteY1" fmla="*/ 3167915 h 3691053"/>
              <a:gd name="connsiteX2" fmla="*/ 5564459 w 12270059"/>
              <a:gd name="connsiteY2" fmla="*/ 2889135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2854712 h 3691053"/>
              <a:gd name="connsiteX0" fmla="*/ 0 w 12270059"/>
              <a:gd name="connsiteY0" fmla="*/ 2854712 h 3691053"/>
              <a:gd name="connsiteX1" fmla="*/ 3958683 w 12270059"/>
              <a:gd name="connsiteY1" fmla="*/ 2877983 h 3691053"/>
              <a:gd name="connsiteX2" fmla="*/ 5564459 w 12270059"/>
              <a:gd name="connsiteY2" fmla="*/ 2889135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2854712 h 3691053"/>
              <a:gd name="connsiteX0" fmla="*/ 0 w 12270059"/>
              <a:gd name="connsiteY0" fmla="*/ 2854712 h 3691053"/>
              <a:gd name="connsiteX1" fmla="*/ 3958683 w 12270059"/>
              <a:gd name="connsiteY1" fmla="*/ 2877983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2854712 h 3691053"/>
              <a:gd name="connsiteX0" fmla="*/ 0 w 12270059"/>
              <a:gd name="connsiteY0" fmla="*/ 2854712 h 3691053"/>
              <a:gd name="connsiteX1" fmla="*/ 3958683 w 12270059"/>
              <a:gd name="connsiteY1" fmla="*/ 2877983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2854712 h 3691053"/>
              <a:gd name="connsiteX0" fmla="*/ 0 w 12270059"/>
              <a:gd name="connsiteY0" fmla="*/ 3189249 h 3691053"/>
              <a:gd name="connsiteX1" fmla="*/ 3958683 w 12270059"/>
              <a:gd name="connsiteY1" fmla="*/ 2877983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3958683 w 12270059"/>
              <a:gd name="connsiteY1" fmla="*/ 2877983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508703 w 12270059"/>
              <a:gd name="connsiteY2" fmla="*/ 3112159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627435 w 12270059"/>
              <a:gd name="connsiteY3" fmla="*/ 1550988 h 3691053"/>
              <a:gd name="connsiteX4" fmla="*/ 9645805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627435 w 12270059"/>
              <a:gd name="connsiteY3" fmla="*/ 1550988 h 3691053"/>
              <a:gd name="connsiteX4" fmla="*/ 9813073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627435 w 12270059"/>
              <a:gd name="connsiteY3" fmla="*/ 1550988 h 3691053"/>
              <a:gd name="connsiteX4" fmla="*/ 9813073 w 12270059"/>
              <a:gd name="connsiteY4" fmla="*/ 2008188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627435 w 12270059"/>
              <a:gd name="connsiteY3" fmla="*/ 1550988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828157 w 12270059"/>
              <a:gd name="connsiteY3" fmla="*/ 1428324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828157 w 12270059"/>
              <a:gd name="connsiteY3" fmla="*/ 1428324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5720576 w 12270059"/>
              <a:gd name="connsiteY2" fmla="*/ 3101008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070195 w 12270059"/>
              <a:gd name="connsiteY1" fmla="*/ 2889134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460488 w 12270059"/>
              <a:gd name="connsiteY1" fmla="*/ 2889134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460488 w 12270059"/>
              <a:gd name="connsiteY1" fmla="*/ 2889134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0 w 12270059"/>
              <a:gd name="connsiteY0" fmla="*/ 3189249 h 3691053"/>
              <a:gd name="connsiteX1" fmla="*/ 4650059 w 12270059"/>
              <a:gd name="connsiteY1" fmla="*/ 2933738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0 w 12270059"/>
              <a:gd name="connsiteY8" fmla="*/ 3189249 h 3691053"/>
              <a:gd name="connsiteX0" fmla="*/ 11151 w 12270059"/>
              <a:gd name="connsiteY0" fmla="*/ 3334215 h 3691053"/>
              <a:gd name="connsiteX1" fmla="*/ 4650059 w 12270059"/>
              <a:gd name="connsiteY1" fmla="*/ 2933738 h 3691053"/>
              <a:gd name="connsiteX2" fmla="*/ 6055113 w 12270059"/>
              <a:gd name="connsiteY2" fmla="*/ 3112160 h 3691053"/>
              <a:gd name="connsiteX3" fmla="*/ 7984274 w 12270059"/>
              <a:gd name="connsiteY3" fmla="*/ 1417173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11151 w 12270059"/>
              <a:gd name="connsiteY8" fmla="*/ 3334215 h 3691053"/>
              <a:gd name="connsiteX0" fmla="*/ 11151 w 12270059"/>
              <a:gd name="connsiteY0" fmla="*/ 3334215 h 3691053"/>
              <a:gd name="connsiteX1" fmla="*/ 4650059 w 12270059"/>
              <a:gd name="connsiteY1" fmla="*/ 2933738 h 3691053"/>
              <a:gd name="connsiteX2" fmla="*/ 6055113 w 12270059"/>
              <a:gd name="connsiteY2" fmla="*/ 3112160 h 3691053"/>
              <a:gd name="connsiteX3" fmla="*/ 8073484 w 12270059"/>
              <a:gd name="connsiteY3" fmla="*/ 1261056 h 3691053"/>
              <a:gd name="connsiteX4" fmla="*/ 9913434 w 12270059"/>
              <a:gd name="connsiteY4" fmla="*/ 2019339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11151 w 12270059"/>
              <a:gd name="connsiteY8" fmla="*/ 3334215 h 3691053"/>
              <a:gd name="connsiteX0" fmla="*/ 11151 w 12270059"/>
              <a:gd name="connsiteY0" fmla="*/ 3334215 h 3691053"/>
              <a:gd name="connsiteX1" fmla="*/ 4650059 w 12270059"/>
              <a:gd name="connsiteY1" fmla="*/ 2933738 h 3691053"/>
              <a:gd name="connsiteX2" fmla="*/ 6055113 w 12270059"/>
              <a:gd name="connsiteY2" fmla="*/ 3112160 h 3691053"/>
              <a:gd name="connsiteX3" fmla="*/ 8073484 w 12270059"/>
              <a:gd name="connsiteY3" fmla="*/ 1261056 h 3691053"/>
              <a:gd name="connsiteX4" fmla="*/ 10002644 w 12270059"/>
              <a:gd name="connsiteY4" fmla="*/ 2130851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11151 w 12270059"/>
              <a:gd name="connsiteY8" fmla="*/ 3334215 h 3691053"/>
              <a:gd name="connsiteX0" fmla="*/ 11151 w 12270059"/>
              <a:gd name="connsiteY0" fmla="*/ 3334215 h 3691053"/>
              <a:gd name="connsiteX1" fmla="*/ 4650059 w 12270059"/>
              <a:gd name="connsiteY1" fmla="*/ 2933738 h 3691053"/>
              <a:gd name="connsiteX2" fmla="*/ 6055113 w 12270059"/>
              <a:gd name="connsiteY2" fmla="*/ 3112160 h 3691053"/>
              <a:gd name="connsiteX3" fmla="*/ 8073484 w 12270059"/>
              <a:gd name="connsiteY3" fmla="*/ 1261056 h 3691053"/>
              <a:gd name="connsiteX4" fmla="*/ 10002644 w 12270059"/>
              <a:gd name="connsiteY4" fmla="*/ 2130851 h 3691053"/>
              <a:gd name="connsiteX5" fmla="*/ 12236605 w 12270059"/>
              <a:gd name="connsiteY5" fmla="*/ 0 h 3691053"/>
              <a:gd name="connsiteX6" fmla="*/ 12270059 w 12270059"/>
              <a:gd name="connsiteY6" fmla="*/ 3691053 h 3691053"/>
              <a:gd name="connsiteX7" fmla="*/ 0 w 12270059"/>
              <a:gd name="connsiteY7" fmla="*/ 3624146 h 3691053"/>
              <a:gd name="connsiteX8" fmla="*/ 11151 w 12270059"/>
              <a:gd name="connsiteY8" fmla="*/ 3334215 h 3691053"/>
              <a:gd name="connsiteX0" fmla="*/ 11151 w 12314663"/>
              <a:gd name="connsiteY0" fmla="*/ 3356517 h 3713355"/>
              <a:gd name="connsiteX1" fmla="*/ 4650059 w 12314663"/>
              <a:gd name="connsiteY1" fmla="*/ 2956040 h 3713355"/>
              <a:gd name="connsiteX2" fmla="*/ 6055113 w 12314663"/>
              <a:gd name="connsiteY2" fmla="*/ 3134462 h 3713355"/>
              <a:gd name="connsiteX3" fmla="*/ 8073484 w 12314663"/>
              <a:gd name="connsiteY3" fmla="*/ 1283358 h 3713355"/>
              <a:gd name="connsiteX4" fmla="*/ 10002644 w 12314663"/>
              <a:gd name="connsiteY4" fmla="*/ 2153153 h 3713355"/>
              <a:gd name="connsiteX5" fmla="*/ 12314663 w 12314663"/>
              <a:gd name="connsiteY5" fmla="*/ 0 h 3713355"/>
              <a:gd name="connsiteX6" fmla="*/ 12270059 w 12314663"/>
              <a:gd name="connsiteY6" fmla="*/ 3713355 h 3713355"/>
              <a:gd name="connsiteX7" fmla="*/ 0 w 12314663"/>
              <a:gd name="connsiteY7" fmla="*/ 3646448 h 3713355"/>
              <a:gd name="connsiteX8" fmla="*/ 11151 w 12314663"/>
              <a:gd name="connsiteY8" fmla="*/ 3356517 h 3713355"/>
              <a:gd name="connsiteX0" fmla="*/ 11151 w 12336967"/>
              <a:gd name="connsiteY0" fmla="*/ 3356517 h 3780263"/>
              <a:gd name="connsiteX1" fmla="*/ 4650059 w 12336967"/>
              <a:gd name="connsiteY1" fmla="*/ 2956040 h 3780263"/>
              <a:gd name="connsiteX2" fmla="*/ 6055113 w 12336967"/>
              <a:gd name="connsiteY2" fmla="*/ 3134462 h 3780263"/>
              <a:gd name="connsiteX3" fmla="*/ 8073484 w 12336967"/>
              <a:gd name="connsiteY3" fmla="*/ 1283358 h 3780263"/>
              <a:gd name="connsiteX4" fmla="*/ 10002644 w 12336967"/>
              <a:gd name="connsiteY4" fmla="*/ 2153153 h 3780263"/>
              <a:gd name="connsiteX5" fmla="*/ 12314663 w 12336967"/>
              <a:gd name="connsiteY5" fmla="*/ 0 h 3780263"/>
              <a:gd name="connsiteX6" fmla="*/ 12336967 w 12336967"/>
              <a:gd name="connsiteY6" fmla="*/ 3780263 h 3780263"/>
              <a:gd name="connsiteX7" fmla="*/ 0 w 12336967"/>
              <a:gd name="connsiteY7" fmla="*/ 3646448 h 3780263"/>
              <a:gd name="connsiteX8" fmla="*/ 11151 w 12336967"/>
              <a:gd name="connsiteY8" fmla="*/ 3356517 h 3780263"/>
              <a:gd name="connsiteX0" fmla="*/ 33453 w 12359269"/>
              <a:gd name="connsiteY0" fmla="*/ 3356517 h 3802565"/>
              <a:gd name="connsiteX1" fmla="*/ 4672361 w 12359269"/>
              <a:gd name="connsiteY1" fmla="*/ 2956040 h 3802565"/>
              <a:gd name="connsiteX2" fmla="*/ 6077415 w 12359269"/>
              <a:gd name="connsiteY2" fmla="*/ 3134462 h 3802565"/>
              <a:gd name="connsiteX3" fmla="*/ 8095786 w 12359269"/>
              <a:gd name="connsiteY3" fmla="*/ 1283358 h 3802565"/>
              <a:gd name="connsiteX4" fmla="*/ 10024946 w 12359269"/>
              <a:gd name="connsiteY4" fmla="*/ 2153153 h 3802565"/>
              <a:gd name="connsiteX5" fmla="*/ 12336965 w 12359269"/>
              <a:gd name="connsiteY5" fmla="*/ 0 h 3802565"/>
              <a:gd name="connsiteX6" fmla="*/ 12359269 w 12359269"/>
              <a:gd name="connsiteY6" fmla="*/ 3780263 h 3802565"/>
              <a:gd name="connsiteX7" fmla="*/ 0 w 12359269"/>
              <a:gd name="connsiteY7" fmla="*/ 3802565 h 3802565"/>
              <a:gd name="connsiteX8" fmla="*/ 33453 w 12359269"/>
              <a:gd name="connsiteY8" fmla="*/ 3356517 h 3802565"/>
              <a:gd name="connsiteX0" fmla="*/ 0 w 12381572"/>
              <a:gd name="connsiteY0" fmla="*/ 3323063 h 3802565"/>
              <a:gd name="connsiteX1" fmla="*/ 4694664 w 12381572"/>
              <a:gd name="connsiteY1" fmla="*/ 2956040 h 3802565"/>
              <a:gd name="connsiteX2" fmla="*/ 6099718 w 12381572"/>
              <a:gd name="connsiteY2" fmla="*/ 3134462 h 3802565"/>
              <a:gd name="connsiteX3" fmla="*/ 8118089 w 12381572"/>
              <a:gd name="connsiteY3" fmla="*/ 1283358 h 3802565"/>
              <a:gd name="connsiteX4" fmla="*/ 10047249 w 12381572"/>
              <a:gd name="connsiteY4" fmla="*/ 2153153 h 3802565"/>
              <a:gd name="connsiteX5" fmla="*/ 12359268 w 12381572"/>
              <a:gd name="connsiteY5" fmla="*/ 0 h 3802565"/>
              <a:gd name="connsiteX6" fmla="*/ 12381572 w 12381572"/>
              <a:gd name="connsiteY6" fmla="*/ 3780263 h 3802565"/>
              <a:gd name="connsiteX7" fmla="*/ 22303 w 12381572"/>
              <a:gd name="connsiteY7" fmla="*/ 3802565 h 3802565"/>
              <a:gd name="connsiteX8" fmla="*/ 0 w 12381572"/>
              <a:gd name="connsiteY8" fmla="*/ 3323063 h 3802565"/>
              <a:gd name="connsiteX0" fmla="*/ 0 w 12381572"/>
              <a:gd name="connsiteY0" fmla="*/ 3323063 h 3802565"/>
              <a:gd name="connsiteX1" fmla="*/ 3256156 w 12381572"/>
              <a:gd name="connsiteY1" fmla="*/ 3089857 h 3802565"/>
              <a:gd name="connsiteX2" fmla="*/ 4694664 w 12381572"/>
              <a:gd name="connsiteY2" fmla="*/ 2956040 h 3802565"/>
              <a:gd name="connsiteX3" fmla="*/ 6099718 w 12381572"/>
              <a:gd name="connsiteY3" fmla="*/ 3134462 h 3802565"/>
              <a:gd name="connsiteX4" fmla="*/ 8118089 w 12381572"/>
              <a:gd name="connsiteY4" fmla="*/ 1283358 h 3802565"/>
              <a:gd name="connsiteX5" fmla="*/ 10047249 w 12381572"/>
              <a:gd name="connsiteY5" fmla="*/ 2153153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3189249 w 12381572"/>
              <a:gd name="connsiteY1" fmla="*/ 3502452 h 3802565"/>
              <a:gd name="connsiteX2" fmla="*/ 4694664 w 12381572"/>
              <a:gd name="connsiteY2" fmla="*/ 2956040 h 3802565"/>
              <a:gd name="connsiteX3" fmla="*/ 6099718 w 12381572"/>
              <a:gd name="connsiteY3" fmla="*/ 3134462 h 3802565"/>
              <a:gd name="connsiteX4" fmla="*/ 8118089 w 12381572"/>
              <a:gd name="connsiteY4" fmla="*/ 1283358 h 3802565"/>
              <a:gd name="connsiteX5" fmla="*/ 10047249 w 12381572"/>
              <a:gd name="connsiteY5" fmla="*/ 2153153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3189249 w 12381572"/>
              <a:gd name="connsiteY1" fmla="*/ 3502452 h 3802565"/>
              <a:gd name="connsiteX2" fmla="*/ 4605454 w 12381572"/>
              <a:gd name="connsiteY2" fmla="*/ 2967191 h 3802565"/>
              <a:gd name="connsiteX3" fmla="*/ 6099718 w 12381572"/>
              <a:gd name="connsiteY3" fmla="*/ 3134462 h 3802565"/>
              <a:gd name="connsiteX4" fmla="*/ 8118089 w 12381572"/>
              <a:gd name="connsiteY4" fmla="*/ 1283358 h 3802565"/>
              <a:gd name="connsiteX5" fmla="*/ 10047249 w 12381572"/>
              <a:gd name="connsiteY5" fmla="*/ 2153153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3189249 w 12381572"/>
              <a:gd name="connsiteY1" fmla="*/ 3502452 h 3802565"/>
              <a:gd name="connsiteX2" fmla="*/ 4605454 w 12381572"/>
              <a:gd name="connsiteY2" fmla="*/ 2967191 h 3802565"/>
              <a:gd name="connsiteX3" fmla="*/ 6300440 w 12381572"/>
              <a:gd name="connsiteY3" fmla="*/ 3179067 h 3802565"/>
              <a:gd name="connsiteX4" fmla="*/ 8118089 w 12381572"/>
              <a:gd name="connsiteY4" fmla="*/ 1283358 h 3802565"/>
              <a:gd name="connsiteX5" fmla="*/ 10047249 w 12381572"/>
              <a:gd name="connsiteY5" fmla="*/ 2153153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3189249 w 12381572"/>
              <a:gd name="connsiteY1" fmla="*/ 3502452 h 3802565"/>
              <a:gd name="connsiteX2" fmla="*/ 4605454 w 12381572"/>
              <a:gd name="connsiteY2" fmla="*/ 2967191 h 3802565"/>
              <a:gd name="connsiteX3" fmla="*/ 6300440 w 12381572"/>
              <a:gd name="connsiteY3" fmla="*/ 3179067 h 3802565"/>
              <a:gd name="connsiteX4" fmla="*/ 8118089 w 12381572"/>
              <a:gd name="connsiteY4" fmla="*/ 1283358 h 3802565"/>
              <a:gd name="connsiteX5" fmla="*/ 10047249 w 12381572"/>
              <a:gd name="connsiteY5" fmla="*/ 2153153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3189249 w 12381572"/>
              <a:gd name="connsiteY1" fmla="*/ 3502452 h 3802565"/>
              <a:gd name="connsiteX2" fmla="*/ 4605454 w 12381572"/>
              <a:gd name="connsiteY2" fmla="*/ 2967191 h 3802565"/>
              <a:gd name="connsiteX3" fmla="*/ 6311591 w 12381572"/>
              <a:gd name="connsiteY3" fmla="*/ 3123311 h 3802565"/>
              <a:gd name="connsiteX4" fmla="*/ 8118089 w 12381572"/>
              <a:gd name="connsiteY4" fmla="*/ 1283358 h 3802565"/>
              <a:gd name="connsiteX5" fmla="*/ 10047249 w 12381572"/>
              <a:gd name="connsiteY5" fmla="*/ 2153153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3189249 w 12381572"/>
              <a:gd name="connsiteY1" fmla="*/ 3502452 h 3802565"/>
              <a:gd name="connsiteX2" fmla="*/ 4605454 w 12381572"/>
              <a:gd name="connsiteY2" fmla="*/ 2967191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047249 w 12381572"/>
              <a:gd name="connsiteY5" fmla="*/ 2153153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2999678 w 12381572"/>
              <a:gd name="connsiteY1" fmla="*/ 3513603 h 3802565"/>
              <a:gd name="connsiteX2" fmla="*/ 4605454 w 12381572"/>
              <a:gd name="connsiteY2" fmla="*/ 2967191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047249 w 12381572"/>
              <a:gd name="connsiteY5" fmla="*/ 2153153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2999678 w 12381572"/>
              <a:gd name="connsiteY1" fmla="*/ 3513603 h 3802565"/>
              <a:gd name="connsiteX2" fmla="*/ 4605454 w 12381572"/>
              <a:gd name="connsiteY2" fmla="*/ 2967191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047249 w 12381572"/>
              <a:gd name="connsiteY5" fmla="*/ 2153153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2698595 w 12381572"/>
              <a:gd name="connsiteY1" fmla="*/ 3502452 h 3802565"/>
              <a:gd name="connsiteX2" fmla="*/ 4605454 w 12381572"/>
              <a:gd name="connsiteY2" fmla="*/ 2967191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047249 w 12381572"/>
              <a:gd name="connsiteY5" fmla="*/ 2153153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2698595 w 12381572"/>
              <a:gd name="connsiteY1" fmla="*/ 3502452 h 3802565"/>
              <a:gd name="connsiteX2" fmla="*/ 4427034 w 12381572"/>
              <a:gd name="connsiteY2" fmla="*/ 3000645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047249 w 12381572"/>
              <a:gd name="connsiteY5" fmla="*/ 2153153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2698595 w 12381572"/>
              <a:gd name="connsiteY1" fmla="*/ 3502452 h 3802565"/>
              <a:gd name="connsiteX2" fmla="*/ 4427034 w 12381572"/>
              <a:gd name="connsiteY2" fmla="*/ 3000645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203366 w 12381572"/>
              <a:gd name="connsiteY5" fmla="*/ 2164304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2698595 w 12381572"/>
              <a:gd name="connsiteY1" fmla="*/ 3502452 h 3802565"/>
              <a:gd name="connsiteX2" fmla="*/ 4427034 w 12381572"/>
              <a:gd name="connsiteY2" fmla="*/ 3000645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203366 w 12381572"/>
              <a:gd name="connsiteY5" fmla="*/ 2164304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2698595 w 12381572"/>
              <a:gd name="connsiteY1" fmla="*/ 3502452 h 3802565"/>
              <a:gd name="connsiteX2" fmla="*/ 4427034 w 12381572"/>
              <a:gd name="connsiteY2" fmla="*/ 3000645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203366 w 12381572"/>
              <a:gd name="connsiteY5" fmla="*/ 2164304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2698595 w 12381572"/>
              <a:gd name="connsiteY1" fmla="*/ 3502452 h 3802565"/>
              <a:gd name="connsiteX2" fmla="*/ 4427034 w 12381572"/>
              <a:gd name="connsiteY2" fmla="*/ 3000645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203366 w 12381572"/>
              <a:gd name="connsiteY5" fmla="*/ 2164304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2419815 w 12381572"/>
              <a:gd name="connsiteY1" fmla="*/ 3513603 h 3802565"/>
              <a:gd name="connsiteX2" fmla="*/ 4427034 w 12381572"/>
              <a:gd name="connsiteY2" fmla="*/ 3000645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203366 w 12381572"/>
              <a:gd name="connsiteY5" fmla="*/ 2164304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323063 h 3802565"/>
              <a:gd name="connsiteX1" fmla="*/ 2419815 w 12381572"/>
              <a:gd name="connsiteY1" fmla="*/ 3513603 h 3802565"/>
              <a:gd name="connsiteX2" fmla="*/ 4348976 w 12381572"/>
              <a:gd name="connsiteY2" fmla="*/ 3011796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203366 w 12381572"/>
              <a:gd name="connsiteY5" fmla="*/ 2164304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323063 h 3802565"/>
              <a:gd name="connsiteX0" fmla="*/ 0 w 12381572"/>
              <a:gd name="connsiteY0" fmla="*/ 3133493 h 3802565"/>
              <a:gd name="connsiteX1" fmla="*/ 2419815 w 12381572"/>
              <a:gd name="connsiteY1" fmla="*/ 3513603 h 3802565"/>
              <a:gd name="connsiteX2" fmla="*/ 4348976 w 12381572"/>
              <a:gd name="connsiteY2" fmla="*/ 3011796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203366 w 12381572"/>
              <a:gd name="connsiteY5" fmla="*/ 2164304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133493 h 3802565"/>
              <a:gd name="connsiteX0" fmla="*/ 0 w 12381572"/>
              <a:gd name="connsiteY0" fmla="*/ 3133493 h 3802565"/>
              <a:gd name="connsiteX1" fmla="*/ 2419815 w 12381572"/>
              <a:gd name="connsiteY1" fmla="*/ 3513603 h 3802565"/>
              <a:gd name="connsiteX2" fmla="*/ 4348976 w 12381572"/>
              <a:gd name="connsiteY2" fmla="*/ 3011796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203366 w 12381572"/>
              <a:gd name="connsiteY5" fmla="*/ 2164304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133493 h 3802565"/>
              <a:gd name="connsiteX0" fmla="*/ 0 w 12381572"/>
              <a:gd name="connsiteY0" fmla="*/ 3133493 h 3802565"/>
              <a:gd name="connsiteX1" fmla="*/ 2308303 w 12381572"/>
              <a:gd name="connsiteY1" fmla="*/ 3502452 h 3802565"/>
              <a:gd name="connsiteX2" fmla="*/ 4348976 w 12381572"/>
              <a:gd name="connsiteY2" fmla="*/ 3011796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203366 w 12381572"/>
              <a:gd name="connsiteY5" fmla="*/ 2164304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133493 h 3802565"/>
              <a:gd name="connsiteX0" fmla="*/ 0 w 12381572"/>
              <a:gd name="connsiteY0" fmla="*/ 3133493 h 3802565"/>
              <a:gd name="connsiteX1" fmla="*/ 2308303 w 12381572"/>
              <a:gd name="connsiteY1" fmla="*/ 3502452 h 3802565"/>
              <a:gd name="connsiteX2" fmla="*/ 4215162 w 12381572"/>
              <a:gd name="connsiteY2" fmla="*/ 3022947 h 3802565"/>
              <a:gd name="connsiteX3" fmla="*/ 6311591 w 12381572"/>
              <a:gd name="connsiteY3" fmla="*/ 3123311 h 3802565"/>
              <a:gd name="connsiteX4" fmla="*/ 8140391 w 12381572"/>
              <a:gd name="connsiteY4" fmla="*/ 1339114 h 3802565"/>
              <a:gd name="connsiteX5" fmla="*/ 10203366 w 12381572"/>
              <a:gd name="connsiteY5" fmla="*/ 2164304 h 3802565"/>
              <a:gd name="connsiteX6" fmla="*/ 12359268 w 12381572"/>
              <a:gd name="connsiteY6" fmla="*/ 0 h 3802565"/>
              <a:gd name="connsiteX7" fmla="*/ 12381572 w 12381572"/>
              <a:gd name="connsiteY7" fmla="*/ 3780263 h 3802565"/>
              <a:gd name="connsiteX8" fmla="*/ 22303 w 12381572"/>
              <a:gd name="connsiteY8" fmla="*/ 3802565 h 3802565"/>
              <a:gd name="connsiteX9" fmla="*/ 0 w 12381572"/>
              <a:gd name="connsiteY9" fmla="*/ 3133493 h 38025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381572" h="3802565">
                <a:moveTo>
                  <a:pt x="0" y="3133493"/>
                </a:moveTo>
                <a:cubicBezTo>
                  <a:pt x="847493" y="3139230"/>
                  <a:pt x="1605776" y="3520876"/>
                  <a:pt x="2308303" y="3502452"/>
                </a:cubicBezTo>
                <a:cubicBezTo>
                  <a:pt x="3010830" y="3484028"/>
                  <a:pt x="3547947" y="3086137"/>
                  <a:pt x="4215162" y="3022947"/>
                </a:cubicBezTo>
                <a:cubicBezTo>
                  <a:pt x="4882377" y="2959757"/>
                  <a:pt x="5657386" y="3403950"/>
                  <a:pt x="6311591" y="3123311"/>
                </a:cubicBezTo>
                <a:cubicBezTo>
                  <a:pt x="6965796" y="2842672"/>
                  <a:pt x="7491762" y="1498949"/>
                  <a:pt x="8140391" y="1339114"/>
                </a:cubicBezTo>
                <a:cubicBezTo>
                  <a:pt x="8789020" y="1179279"/>
                  <a:pt x="9433313" y="2342885"/>
                  <a:pt x="10203366" y="2164304"/>
                </a:cubicBezTo>
                <a:cubicBezTo>
                  <a:pt x="10973419" y="1985723"/>
                  <a:pt x="11656121" y="87513"/>
                  <a:pt x="12359268" y="0"/>
                </a:cubicBezTo>
                <a:lnTo>
                  <a:pt x="12381572" y="3780263"/>
                </a:lnTo>
                <a:lnTo>
                  <a:pt x="22303" y="3802565"/>
                </a:lnTo>
                <a:lnTo>
                  <a:pt x="0" y="3133493"/>
                </a:lnTo>
                <a:close/>
              </a:path>
            </a:pathLst>
          </a:custGeom>
          <a:solidFill>
            <a:schemeClr val="bg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4116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№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72CC20C-CF57-C947-95A7-B9B5F59AD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FD9E97F7-B18A-4CE5-99DB-AFD307C798A5}"/>
              </a:ext>
            </a:extLst>
          </p:cNvPr>
          <p:cNvSpPr txBox="1"/>
          <p:nvPr userDrawn="1"/>
        </p:nvSpPr>
        <p:spPr>
          <a:xfrm>
            <a:off x="11500581" y="6547344"/>
            <a:ext cx="5397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46E38A9C-1233-5B4D-A1AE-A7549B261D49}" type="slidenum">
              <a:rPr lang="en-US" sz="1200" smtClean="0">
                <a:solidFill>
                  <a:schemeClr val="tx1">
                    <a:alpha val="68000"/>
                  </a:schemeClr>
                </a:solidFill>
              </a:rPr>
              <a:pPr algn="ctr"/>
              <a:t>‹#›</a:t>
            </a:fld>
            <a:endParaRPr lang="en-US" sz="1200" dirty="0">
              <a:solidFill>
                <a:schemeClr val="tx1">
                  <a:alpha val="68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30354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№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72CC20C-CF57-C947-95A7-B9B5F59AD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FD9E97F7-B18A-4CE5-99DB-AFD307C798A5}"/>
              </a:ext>
            </a:extLst>
          </p:cNvPr>
          <p:cNvSpPr txBox="1"/>
          <p:nvPr userDrawn="1"/>
        </p:nvSpPr>
        <p:spPr>
          <a:xfrm>
            <a:off x="11500581" y="6547344"/>
            <a:ext cx="5397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46E38A9C-1233-5B4D-A1AE-A7549B261D49}" type="slidenum">
              <a:rPr lang="en-US" sz="1200" smtClean="0">
                <a:solidFill>
                  <a:schemeClr val="tx1">
                    <a:alpha val="68000"/>
                  </a:schemeClr>
                </a:solidFill>
              </a:rPr>
              <a:pPr algn="ctr"/>
              <a:t>‹#›</a:t>
            </a:fld>
            <a:endParaRPr lang="en-US" sz="1200" dirty="0">
              <a:solidFill>
                <a:schemeClr val="tx1">
                  <a:alpha val="68000"/>
                </a:schemeClr>
              </a:solidFill>
            </a:endParaRPr>
          </a:p>
        </p:txBody>
      </p:sp>
      <p:sp>
        <p:nvSpPr>
          <p:cNvPr id="4" name="Rectangle 13">
            <a:extLst>
              <a:ext uri="{FF2B5EF4-FFF2-40B4-BE49-F238E27FC236}">
                <a16:creationId xmlns="" xmlns:a16="http://schemas.microsoft.com/office/drawing/2014/main" id="{EA6A4A40-1B15-42E2-88CB-F02EB3353523}"/>
              </a:ext>
            </a:extLst>
          </p:cNvPr>
          <p:cNvSpPr/>
          <p:nvPr userDrawn="1"/>
        </p:nvSpPr>
        <p:spPr>
          <a:xfrm>
            <a:off x="-1" y="936171"/>
            <a:ext cx="12192001" cy="55671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algn="ctr" rotWithShape="0">
              <a:schemeClr val="tx1"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437802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Основной: Дэшбор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72CC20C-CF57-C947-95A7-B9B5F59AD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3E4BF9B0-05C2-FC46-950D-720C936ACFCD}"/>
              </a:ext>
            </a:extLst>
          </p:cNvPr>
          <p:cNvSpPr/>
          <p:nvPr userDrawn="1"/>
        </p:nvSpPr>
        <p:spPr>
          <a:xfrm>
            <a:off x="-1" y="1355835"/>
            <a:ext cx="12192001" cy="514744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algn="ctr" rotWithShape="0">
              <a:schemeClr val="tx1"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08828E4F-2A57-CC40-A596-A0F598298AA6}"/>
              </a:ext>
            </a:extLst>
          </p:cNvPr>
          <p:cNvSpPr txBox="1"/>
          <p:nvPr userDrawn="1"/>
        </p:nvSpPr>
        <p:spPr>
          <a:xfrm>
            <a:off x="835573" y="988928"/>
            <a:ext cx="416209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l"/>
            <a:r>
              <a:rPr lang="ru-RU" sz="1800" b="0" dirty="0">
                <a:solidFill>
                  <a:schemeClr val="tx1">
                    <a:alpha val="60000"/>
                  </a:schemeClr>
                </a:solidFill>
                <a:latin typeface="+mj-lt"/>
              </a:rPr>
              <a:t>Результаты 1</a:t>
            </a:r>
            <a:r>
              <a:rPr lang="en-US" sz="1800" b="0" dirty="0">
                <a:solidFill>
                  <a:schemeClr val="tx1">
                    <a:alpha val="60000"/>
                  </a:schemeClr>
                </a:solidFill>
                <a:latin typeface="+mj-lt"/>
              </a:rPr>
              <a:t>H2018</a:t>
            </a:r>
            <a:endParaRPr lang="ru-RU" sz="1800" b="0" dirty="0">
              <a:solidFill>
                <a:schemeClr val="tx1">
                  <a:alpha val="60000"/>
                </a:schemeClr>
              </a:solidFill>
              <a:latin typeface="+mj-lt"/>
            </a:endParaRPr>
          </a:p>
        </p:txBody>
      </p:sp>
      <p:sp>
        <p:nvSpPr>
          <p:cNvPr id="8" name="Freeform 8">
            <a:extLst>
              <a:ext uri="{FF2B5EF4-FFF2-40B4-BE49-F238E27FC236}">
                <a16:creationId xmlns="" xmlns:a16="http://schemas.microsoft.com/office/drawing/2014/main" id="{94AF67C7-814F-114F-AD67-B00F030C0ABA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64788" y="1025321"/>
            <a:ext cx="180000" cy="180000"/>
          </a:xfrm>
          <a:custGeom>
            <a:avLst/>
            <a:gdLst>
              <a:gd name="T0" fmla="*/ 476 w 530"/>
              <a:gd name="T1" fmla="*/ 0 h 530"/>
              <a:gd name="T2" fmla="*/ 370 w 530"/>
              <a:gd name="T3" fmla="*/ 0 h 530"/>
              <a:gd name="T4" fmla="*/ 370 w 530"/>
              <a:gd name="T5" fmla="*/ 53 h 530"/>
              <a:gd name="T6" fmla="*/ 438 w 530"/>
              <a:gd name="T7" fmla="*/ 53 h 530"/>
              <a:gd name="T8" fmla="*/ 291 w 530"/>
              <a:gd name="T9" fmla="*/ 201 h 530"/>
              <a:gd name="T10" fmla="*/ 213 w 530"/>
              <a:gd name="T11" fmla="*/ 123 h 530"/>
              <a:gd name="T12" fmla="*/ 53 w 530"/>
              <a:gd name="T13" fmla="*/ 260 h 530"/>
              <a:gd name="T14" fmla="*/ 53 w 530"/>
              <a:gd name="T15" fmla="*/ 212 h 530"/>
              <a:gd name="T16" fmla="*/ 79 w 530"/>
              <a:gd name="T17" fmla="*/ 212 h 530"/>
              <a:gd name="T18" fmla="*/ 79 w 530"/>
              <a:gd name="T19" fmla="*/ 159 h 530"/>
              <a:gd name="T20" fmla="*/ 53 w 530"/>
              <a:gd name="T21" fmla="*/ 159 h 530"/>
              <a:gd name="T22" fmla="*/ 53 w 530"/>
              <a:gd name="T23" fmla="*/ 106 h 530"/>
              <a:gd name="T24" fmla="*/ 79 w 530"/>
              <a:gd name="T25" fmla="*/ 106 h 530"/>
              <a:gd name="T26" fmla="*/ 79 w 530"/>
              <a:gd name="T27" fmla="*/ 53 h 530"/>
              <a:gd name="T28" fmla="*/ 53 w 530"/>
              <a:gd name="T29" fmla="*/ 53 h 530"/>
              <a:gd name="T30" fmla="*/ 53 w 530"/>
              <a:gd name="T31" fmla="*/ 0 h 530"/>
              <a:gd name="T32" fmla="*/ 0 w 530"/>
              <a:gd name="T33" fmla="*/ 0 h 530"/>
              <a:gd name="T34" fmla="*/ 0 w 530"/>
              <a:gd name="T35" fmla="*/ 476 h 530"/>
              <a:gd name="T36" fmla="*/ 0 w 530"/>
              <a:gd name="T37" fmla="*/ 529 h 530"/>
              <a:gd name="T38" fmla="*/ 53 w 530"/>
              <a:gd name="T39" fmla="*/ 529 h 530"/>
              <a:gd name="T40" fmla="*/ 529 w 530"/>
              <a:gd name="T41" fmla="*/ 529 h 530"/>
              <a:gd name="T42" fmla="*/ 529 w 530"/>
              <a:gd name="T43" fmla="*/ 476 h 530"/>
              <a:gd name="T44" fmla="*/ 476 w 530"/>
              <a:gd name="T45" fmla="*/ 476 h 530"/>
              <a:gd name="T46" fmla="*/ 476 w 530"/>
              <a:gd name="T47" fmla="*/ 449 h 530"/>
              <a:gd name="T48" fmla="*/ 423 w 530"/>
              <a:gd name="T49" fmla="*/ 449 h 530"/>
              <a:gd name="T50" fmla="*/ 423 w 530"/>
              <a:gd name="T51" fmla="*/ 476 h 530"/>
              <a:gd name="T52" fmla="*/ 370 w 530"/>
              <a:gd name="T53" fmla="*/ 476 h 530"/>
              <a:gd name="T54" fmla="*/ 370 w 530"/>
              <a:gd name="T55" fmla="*/ 449 h 530"/>
              <a:gd name="T56" fmla="*/ 317 w 530"/>
              <a:gd name="T57" fmla="*/ 449 h 530"/>
              <a:gd name="T58" fmla="*/ 317 w 530"/>
              <a:gd name="T59" fmla="*/ 476 h 530"/>
              <a:gd name="T60" fmla="*/ 264 w 530"/>
              <a:gd name="T61" fmla="*/ 476 h 530"/>
              <a:gd name="T62" fmla="*/ 264 w 530"/>
              <a:gd name="T63" fmla="*/ 449 h 530"/>
              <a:gd name="T64" fmla="*/ 211 w 530"/>
              <a:gd name="T65" fmla="*/ 449 h 530"/>
              <a:gd name="T66" fmla="*/ 211 w 530"/>
              <a:gd name="T67" fmla="*/ 476 h 530"/>
              <a:gd name="T68" fmla="*/ 158 w 530"/>
              <a:gd name="T69" fmla="*/ 476 h 530"/>
              <a:gd name="T70" fmla="*/ 158 w 530"/>
              <a:gd name="T71" fmla="*/ 449 h 530"/>
              <a:gd name="T72" fmla="*/ 105 w 530"/>
              <a:gd name="T73" fmla="*/ 449 h 530"/>
              <a:gd name="T74" fmla="*/ 105 w 530"/>
              <a:gd name="T75" fmla="*/ 476 h 530"/>
              <a:gd name="T76" fmla="*/ 53 w 530"/>
              <a:gd name="T77" fmla="*/ 476 h 530"/>
              <a:gd name="T78" fmla="*/ 53 w 530"/>
              <a:gd name="T79" fmla="*/ 423 h 530"/>
              <a:gd name="T80" fmla="*/ 79 w 530"/>
              <a:gd name="T81" fmla="*/ 423 h 530"/>
              <a:gd name="T82" fmla="*/ 79 w 530"/>
              <a:gd name="T83" fmla="*/ 370 h 530"/>
              <a:gd name="T84" fmla="*/ 53 w 530"/>
              <a:gd name="T85" fmla="*/ 370 h 530"/>
              <a:gd name="T86" fmla="*/ 53 w 530"/>
              <a:gd name="T87" fmla="*/ 329 h 530"/>
              <a:gd name="T88" fmla="*/ 210 w 530"/>
              <a:gd name="T89" fmla="*/ 195 h 530"/>
              <a:gd name="T90" fmla="*/ 291 w 530"/>
              <a:gd name="T91" fmla="*/ 275 h 530"/>
              <a:gd name="T92" fmla="*/ 476 w 530"/>
              <a:gd name="T93" fmla="*/ 90 h 530"/>
              <a:gd name="T94" fmla="*/ 476 w 530"/>
              <a:gd name="T95" fmla="*/ 159 h 530"/>
              <a:gd name="T96" fmla="*/ 529 w 530"/>
              <a:gd name="T97" fmla="*/ 159 h 530"/>
              <a:gd name="T98" fmla="*/ 529 w 530"/>
              <a:gd name="T99" fmla="*/ 53 h 530"/>
              <a:gd name="T100" fmla="*/ 529 w 530"/>
              <a:gd name="T101" fmla="*/ 0 h 530"/>
              <a:gd name="T102" fmla="*/ 476 w 530"/>
              <a:gd name="T103" fmla="*/ 0 h 5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30" h="530">
                <a:moveTo>
                  <a:pt x="476" y="0"/>
                </a:moveTo>
                <a:lnTo>
                  <a:pt x="370" y="0"/>
                </a:lnTo>
                <a:lnTo>
                  <a:pt x="370" y="53"/>
                </a:lnTo>
                <a:lnTo>
                  <a:pt x="438" y="53"/>
                </a:lnTo>
                <a:lnTo>
                  <a:pt x="291" y="201"/>
                </a:lnTo>
                <a:lnTo>
                  <a:pt x="213" y="123"/>
                </a:lnTo>
                <a:lnTo>
                  <a:pt x="53" y="260"/>
                </a:lnTo>
                <a:lnTo>
                  <a:pt x="53" y="212"/>
                </a:lnTo>
                <a:lnTo>
                  <a:pt x="79" y="212"/>
                </a:lnTo>
                <a:lnTo>
                  <a:pt x="79" y="159"/>
                </a:lnTo>
                <a:lnTo>
                  <a:pt x="53" y="159"/>
                </a:lnTo>
                <a:lnTo>
                  <a:pt x="53" y="106"/>
                </a:lnTo>
                <a:lnTo>
                  <a:pt x="79" y="106"/>
                </a:lnTo>
                <a:lnTo>
                  <a:pt x="79" y="53"/>
                </a:lnTo>
                <a:lnTo>
                  <a:pt x="53" y="53"/>
                </a:lnTo>
                <a:lnTo>
                  <a:pt x="53" y="0"/>
                </a:lnTo>
                <a:lnTo>
                  <a:pt x="0" y="0"/>
                </a:lnTo>
                <a:lnTo>
                  <a:pt x="0" y="476"/>
                </a:lnTo>
                <a:lnTo>
                  <a:pt x="0" y="529"/>
                </a:lnTo>
                <a:lnTo>
                  <a:pt x="53" y="529"/>
                </a:lnTo>
                <a:lnTo>
                  <a:pt x="529" y="529"/>
                </a:lnTo>
                <a:lnTo>
                  <a:pt x="529" y="476"/>
                </a:lnTo>
                <a:lnTo>
                  <a:pt x="476" y="476"/>
                </a:lnTo>
                <a:lnTo>
                  <a:pt x="476" y="449"/>
                </a:lnTo>
                <a:lnTo>
                  <a:pt x="423" y="449"/>
                </a:lnTo>
                <a:lnTo>
                  <a:pt x="423" y="476"/>
                </a:lnTo>
                <a:lnTo>
                  <a:pt x="370" y="476"/>
                </a:lnTo>
                <a:lnTo>
                  <a:pt x="370" y="449"/>
                </a:lnTo>
                <a:lnTo>
                  <a:pt x="317" y="449"/>
                </a:lnTo>
                <a:lnTo>
                  <a:pt x="317" y="476"/>
                </a:lnTo>
                <a:lnTo>
                  <a:pt x="264" y="476"/>
                </a:lnTo>
                <a:lnTo>
                  <a:pt x="264" y="449"/>
                </a:lnTo>
                <a:lnTo>
                  <a:pt x="211" y="449"/>
                </a:lnTo>
                <a:lnTo>
                  <a:pt x="211" y="476"/>
                </a:lnTo>
                <a:lnTo>
                  <a:pt x="158" y="476"/>
                </a:lnTo>
                <a:lnTo>
                  <a:pt x="158" y="449"/>
                </a:lnTo>
                <a:lnTo>
                  <a:pt x="105" y="449"/>
                </a:lnTo>
                <a:lnTo>
                  <a:pt x="105" y="476"/>
                </a:lnTo>
                <a:lnTo>
                  <a:pt x="53" y="476"/>
                </a:lnTo>
                <a:lnTo>
                  <a:pt x="53" y="423"/>
                </a:lnTo>
                <a:lnTo>
                  <a:pt x="79" y="423"/>
                </a:lnTo>
                <a:lnTo>
                  <a:pt x="79" y="370"/>
                </a:lnTo>
                <a:lnTo>
                  <a:pt x="53" y="370"/>
                </a:lnTo>
                <a:lnTo>
                  <a:pt x="53" y="329"/>
                </a:lnTo>
                <a:lnTo>
                  <a:pt x="210" y="195"/>
                </a:lnTo>
                <a:lnTo>
                  <a:pt x="291" y="275"/>
                </a:lnTo>
                <a:lnTo>
                  <a:pt x="476" y="90"/>
                </a:lnTo>
                <a:lnTo>
                  <a:pt x="476" y="159"/>
                </a:lnTo>
                <a:lnTo>
                  <a:pt x="529" y="159"/>
                </a:lnTo>
                <a:lnTo>
                  <a:pt x="529" y="53"/>
                </a:lnTo>
                <a:lnTo>
                  <a:pt x="529" y="0"/>
                </a:lnTo>
                <a:lnTo>
                  <a:pt x="476" y="0"/>
                </a:lnTo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F175D066-FCB6-4BF0-91BE-A464608F9207}"/>
              </a:ext>
            </a:extLst>
          </p:cNvPr>
          <p:cNvSpPr txBox="1"/>
          <p:nvPr userDrawn="1"/>
        </p:nvSpPr>
        <p:spPr>
          <a:xfrm>
            <a:off x="11500581" y="6547344"/>
            <a:ext cx="5397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46E38A9C-1233-5B4D-A1AE-A7549B261D49}" type="slidenum">
              <a:rPr lang="en-US" sz="1200" smtClean="0">
                <a:solidFill>
                  <a:schemeClr val="tx1">
                    <a:alpha val="68000"/>
                  </a:schemeClr>
                </a:solidFill>
              </a:rPr>
              <a:pPr algn="ctr"/>
              <a:t>‹#›</a:t>
            </a:fld>
            <a:endParaRPr lang="en-US" sz="1200" dirty="0">
              <a:solidFill>
                <a:schemeClr val="tx1">
                  <a:alpha val="68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76182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628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449EF3E4-2093-4169-B58F-7EFD253CC8A3}"/>
              </a:ext>
            </a:extLst>
          </p:cNvPr>
          <p:cNvSpPr txBox="1"/>
          <p:nvPr userDrawn="1"/>
        </p:nvSpPr>
        <p:spPr>
          <a:xfrm>
            <a:off x="11500581" y="6547344"/>
            <a:ext cx="5397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46E38A9C-1233-5B4D-A1AE-A7549B261D49}" type="slidenum">
              <a:rPr lang="en-US" sz="1200" smtClean="0">
                <a:solidFill>
                  <a:schemeClr val="tx1">
                    <a:alpha val="68000"/>
                  </a:schemeClr>
                </a:solidFill>
              </a:rPr>
              <a:pPr algn="ctr"/>
              <a:t>‹#›</a:t>
            </a:fld>
            <a:endParaRPr lang="en-US" sz="1200" dirty="0">
              <a:solidFill>
                <a:schemeClr val="tx1">
                  <a:alpha val="68000"/>
                </a:schemeClr>
              </a:solidFill>
            </a:endParaRPr>
          </a:p>
        </p:txBody>
      </p:sp>
      <p:sp>
        <p:nvSpPr>
          <p:cNvPr id="3" name="Rectangle 16">
            <a:extLst>
              <a:ext uri="{FF2B5EF4-FFF2-40B4-BE49-F238E27FC236}">
                <a16:creationId xmlns="" xmlns:a16="http://schemas.microsoft.com/office/drawing/2014/main" id="{B6891859-9D0F-4529-8C5A-572236BD840B}"/>
              </a:ext>
            </a:extLst>
          </p:cNvPr>
          <p:cNvSpPr/>
          <p:nvPr userDrawn="1"/>
        </p:nvSpPr>
        <p:spPr>
          <a:xfrm>
            <a:off x="9301656" y="1355838"/>
            <a:ext cx="2890344" cy="51474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algn="ctr" rotWithShape="0">
              <a:schemeClr val="tx1"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itle 1">
            <a:extLst>
              <a:ext uri="{FF2B5EF4-FFF2-40B4-BE49-F238E27FC236}">
                <a16:creationId xmlns="" xmlns:a16="http://schemas.microsoft.com/office/drawing/2014/main" id="{A2125DB5-F312-4275-84B2-450D39E06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4" y="2"/>
            <a:ext cx="11090275" cy="78941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5" name="Rectangle 13">
            <a:extLst>
              <a:ext uri="{FF2B5EF4-FFF2-40B4-BE49-F238E27FC236}">
                <a16:creationId xmlns="" xmlns:a16="http://schemas.microsoft.com/office/drawing/2014/main" id="{5899A4F9-338E-4CB9-BB43-CF211A8912C5}"/>
              </a:ext>
            </a:extLst>
          </p:cNvPr>
          <p:cNvSpPr/>
          <p:nvPr userDrawn="1"/>
        </p:nvSpPr>
        <p:spPr>
          <a:xfrm>
            <a:off x="0" y="1355835"/>
            <a:ext cx="9080939" cy="514744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algn="ctr" rotWithShape="0">
              <a:schemeClr val="tx1"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34D8EAB6-BB30-4C2C-858F-FBC28613298F}"/>
              </a:ext>
            </a:extLst>
          </p:cNvPr>
          <p:cNvSpPr txBox="1"/>
          <p:nvPr userDrawn="1"/>
        </p:nvSpPr>
        <p:spPr>
          <a:xfrm>
            <a:off x="835573" y="988928"/>
            <a:ext cx="416209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l"/>
            <a:r>
              <a:rPr lang="ru-RU" sz="1800" b="0" dirty="0">
                <a:solidFill>
                  <a:schemeClr val="tx1">
                    <a:alpha val="60000"/>
                  </a:schemeClr>
                </a:solidFill>
                <a:latin typeface="+mj-lt"/>
              </a:rPr>
              <a:t>Сравнение с конкурентами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384EC78D-375E-406D-B51D-DE917AE5C534}"/>
              </a:ext>
            </a:extLst>
          </p:cNvPr>
          <p:cNvSpPr txBox="1"/>
          <p:nvPr userDrawn="1"/>
        </p:nvSpPr>
        <p:spPr>
          <a:xfrm>
            <a:off x="9744421" y="988927"/>
            <a:ext cx="204362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b="0" dirty="0">
                <a:solidFill>
                  <a:schemeClr val="tx1">
                    <a:alpha val="60000"/>
                  </a:schemeClr>
                </a:solidFill>
                <a:latin typeface="+mj-lt"/>
              </a:rPr>
              <a:t>Gaps </a:t>
            </a:r>
            <a:r>
              <a:rPr lang="ru-RU" sz="1800" b="0" dirty="0">
                <a:solidFill>
                  <a:schemeClr val="tx1">
                    <a:alpha val="60000"/>
                  </a:schemeClr>
                </a:solidFill>
                <a:latin typeface="+mj-lt"/>
              </a:rPr>
              <a:t>и выводы</a:t>
            </a:r>
          </a:p>
        </p:txBody>
      </p:sp>
      <p:sp>
        <p:nvSpPr>
          <p:cNvPr id="8" name="Freeform 7">
            <a:extLst>
              <a:ext uri="{FF2B5EF4-FFF2-40B4-BE49-F238E27FC236}">
                <a16:creationId xmlns="" xmlns:a16="http://schemas.microsoft.com/office/drawing/2014/main" id="{8FE527E4-DA80-4DD8-9897-6CAEE521C614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9444876" y="1013179"/>
            <a:ext cx="216000" cy="216000"/>
          </a:xfrm>
          <a:custGeom>
            <a:avLst/>
            <a:gdLst>
              <a:gd name="T0" fmla="*/ 557 w 592"/>
              <a:gd name="T1" fmla="*/ 183 h 590"/>
              <a:gd name="T2" fmla="*/ 543 w 592"/>
              <a:gd name="T3" fmla="*/ 445 h 590"/>
              <a:gd name="T4" fmla="*/ 291 w 592"/>
              <a:gd name="T5" fmla="*/ 589 h 590"/>
              <a:gd name="T6" fmla="*/ 39 w 592"/>
              <a:gd name="T7" fmla="*/ 445 h 590"/>
              <a:gd name="T8" fmla="*/ 39 w 592"/>
              <a:gd name="T9" fmla="*/ 154 h 590"/>
              <a:gd name="T10" fmla="*/ 291 w 592"/>
              <a:gd name="T11" fmla="*/ 9 h 590"/>
              <a:gd name="T12" fmla="*/ 366 w 592"/>
              <a:gd name="T13" fmla="*/ 74 h 590"/>
              <a:gd name="T14" fmla="*/ 290 w 592"/>
              <a:gd name="T15" fmla="*/ 62 h 590"/>
              <a:gd name="T16" fmla="*/ 290 w 592"/>
              <a:gd name="T17" fmla="*/ 62 h 590"/>
              <a:gd name="T18" fmla="*/ 84 w 592"/>
              <a:gd name="T19" fmla="*/ 180 h 590"/>
              <a:gd name="T20" fmla="*/ 84 w 592"/>
              <a:gd name="T21" fmla="*/ 418 h 590"/>
              <a:gd name="T22" fmla="*/ 290 w 592"/>
              <a:gd name="T23" fmla="*/ 537 h 590"/>
              <a:gd name="T24" fmla="*/ 497 w 592"/>
              <a:gd name="T25" fmla="*/ 418 h 590"/>
              <a:gd name="T26" fmla="*/ 528 w 592"/>
              <a:gd name="T27" fmla="*/ 299 h 590"/>
              <a:gd name="T28" fmla="*/ 516 w 592"/>
              <a:gd name="T29" fmla="*/ 224 h 590"/>
              <a:gd name="T30" fmla="*/ 284 w 592"/>
              <a:gd name="T31" fmla="*/ 194 h 590"/>
              <a:gd name="T32" fmla="*/ 331 w 592"/>
              <a:gd name="T33" fmla="*/ 146 h 590"/>
              <a:gd name="T34" fmla="*/ 290 w 592"/>
              <a:gd name="T35" fmla="*/ 141 h 590"/>
              <a:gd name="T36" fmla="*/ 211 w 592"/>
              <a:gd name="T37" fmla="*/ 162 h 590"/>
              <a:gd name="T38" fmla="*/ 132 w 592"/>
              <a:gd name="T39" fmla="*/ 299 h 590"/>
              <a:gd name="T40" fmla="*/ 211 w 592"/>
              <a:gd name="T41" fmla="*/ 437 h 590"/>
              <a:gd name="T42" fmla="*/ 370 w 592"/>
              <a:gd name="T43" fmla="*/ 437 h 590"/>
              <a:gd name="T44" fmla="*/ 449 w 592"/>
              <a:gd name="T45" fmla="*/ 299 h 590"/>
              <a:gd name="T46" fmla="*/ 449 w 592"/>
              <a:gd name="T47" fmla="*/ 299 h 590"/>
              <a:gd name="T48" fmla="*/ 396 w 592"/>
              <a:gd name="T49" fmla="*/ 306 h 590"/>
              <a:gd name="T50" fmla="*/ 382 w 592"/>
              <a:gd name="T51" fmla="*/ 352 h 590"/>
              <a:gd name="T52" fmla="*/ 291 w 592"/>
              <a:gd name="T53" fmla="*/ 405 h 590"/>
              <a:gd name="T54" fmla="*/ 199 w 592"/>
              <a:gd name="T55" fmla="*/ 352 h 590"/>
              <a:gd name="T56" fmla="*/ 199 w 592"/>
              <a:gd name="T57" fmla="*/ 246 h 590"/>
              <a:gd name="T58" fmla="*/ 284 w 592"/>
              <a:gd name="T59" fmla="*/ 194 h 590"/>
              <a:gd name="T60" fmla="*/ 384 w 592"/>
              <a:gd name="T61" fmla="*/ 169 h 590"/>
              <a:gd name="T62" fmla="*/ 272 w 592"/>
              <a:gd name="T63" fmla="*/ 281 h 590"/>
              <a:gd name="T64" fmla="*/ 267 w 592"/>
              <a:gd name="T65" fmla="*/ 286 h 590"/>
              <a:gd name="T66" fmla="*/ 267 w 592"/>
              <a:gd name="T67" fmla="*/ 313 h 590"/>
              <a:gd name="T68" fmla="*/ 290 w 592"/>
              <a:gd name="T69" fmla="*/ 326 h 590"/>
              <a:gd name="T70" fmla="*/ 309 w 592"/>
              <a:gd name="T71" fmla="*/ 318 h 590"/>
              <a:gd name="T72" fmla="*/ 498 w 592"/>
              <a:gd name="T73" fmla="*/ 206 h 590"/>
              <a:gd name="T74" fmla="*/ 535 w 592"/>
              <a:gd name="T75" fmla="*/ 94 h 590"/>
              <a:gd name="T76" fmla="*/ 515 w 592"/>
              <a:gd name="T77" fmla="*/ 38 h 590"/>
              <a:gd name="T78" fmla="*/ 477 w 592"/>
              <a:gd name="T79" fmla="*/ 0 h 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92" h="590">
                <a:moveTo>
                  <a:pt x="557" y="183"/>
                </a:moveTo>
                <a:lnTo>
                  <a:pt x="557" y="183"/>
                </a:lnTo>
                <a:cubicBezTo>
                  <a:pt x="574" y="221"/>
                  <a:pt x="582" y="257"/>
                  <a:pt x="582" y="299"/>
                </a:cubicBezTo>
                <a:cubicBezTo>
                  <a:pt x="582" y="353"/>
                  <a:pt x="569" y="398"/>
                  <a:pt x="543" y="445"/>
                </a:cubicBezTo>
                <a:cubicBezTo>
                  <a:pt x="516" y="491"/>
                  <a:pt x="482" y="524"/>
                  <a:pt x="436" y="551"/>
                </a:cubicBezTo>
                <a:cubicBezTo>
                  <a:pt x="390" y="577"/>
                  <a:pt x="344" y="589"/>
                  <a:pt x="291" y="589"/>
                </a:cubicBezTo>
                <a:cubicBezTo>
                  <a:pt x="237" y="589"/>
                  <a:pt x="191" y="577"/>
                  <a:pt x="145" y="551"/>
                </a:cubicBezTo>
                <a:cubicBezTo>
                  <a:pt x="99" y="524"/>
                  <a:pt x="65" y="491"/>
                  <a:pt x="39" y="445"/>
                </a:cubicBezTo>
                <a:cubicBezTo>
                  <a:pt x="12" y="398"/>
                  <a:pt x="0" y="352"/>
                  <a:pt x="0" y="299"/>
                </a:cubicBezTo>
                <a:cubicBezTo>
                  <a:pt x="0" y="245"/>
                  <a:pt x="12" y="200"/>
                  <a:pt x="39" y="154"/>
                </a:cubicBezTo>
                <a:cubicBezTo>
                  <a:pt x="65" y="108"/>
                  <a:pt x="99" y="73"/>
                  <a:pt x="145" y="47"/>
                </a:cubicBezTo>
                <a:cubicBezTo>
                  <a:pt x="191" y="20"/>
                  <a:pt x="237" y="9"/>
                  <a:pt x="291" y="9"/>
                </a:cubicBezTo>
                <a:cubicBezTo>
                  <a:pt x="333" y="9"/>
                  <a:pt x="369" y="16"/>
                  <a:pt x="407" y="33"/>
                </a:cubicBezTo>
                <a:lnTo>
                  <a:pt x="366" y="74"/>
                </a:lnTo>
                <a:lnTo>
                  <a:pt x="366" y="74"/>
                </a:lnTo>
                <a:cubicBezTo>
                  <a:pt x="341" y="65"/>
                  <a:pt x="318" y="62"/>
                  <a:pt x="290" y="62"/>
                </a:cubicBezTo>
                <a:lnTo>
                  <a:pt x="290" y="62"/>
                </a:lnTo>
                <a:lnTo>
                  <a:pt x="290" y="62"/>
                </a:lnTo>
                <a:cubicBezTo>
                  <a:pt x="247" y="62"/>
                  <a:pt x="209" y="71"/>
                  <a:pt x="171" y="93"/>
                </a:cubicBezTo>
                <a:cubicBezTo>
                  <a:pt x="133" y="115"/>
                  <a:pt x="106" y="142"/>
                  <a:pt x="84" y="180"/>
                </a:cubicBezTo>
                <a:cubicBezTo>
                  <a:pt x="62" y="217"/>
                  <a:pt x="52" y="255"/>
                  <a:pt x="52" y="299"/>
                </a:cubicBezTo>
                <a:cubicBezTo>
                  <a:pt x="52" y="342"/>
                  <a:pt x="62" y="380"/>
                  <a:pt x="84" y="418"/>
                </a:cubicBezTo>
                <a:cubicBezTo>
                  <a:pt x="106" y="456"/>
                  <a:pt x="133" y="483"/>
                  <a:pt x="171" y="505"/>
                </a:cubicBezTo>
                <a:cubicBezTo>
                  <a:pt x="209" y="526"/>
                  <a:pt x="246" y="537"/>
                  <a:pt x="290" y="537"/>
                </a:cubicBezTo>
                <a:cubicBezTo>
                  <a:pt x="333" y="537"/>
                  <a:pt x="371" y="526"/>
                  <a:pt x="409" y="505"/>
                </a:cubicBezTo>
                <a:cubicBezTo>
                  <a:pt x="447" y="483"/>
                  <a:pt x="475" y="456"/>
                  <a:pt x="497" y="418"/>
                </a:cubicBezTo>
                <a:cubicBezTo>
                  <a:pt x="519" y="380"/>
                  <a:pt x="528" y="343"/>
                  <a:pt x="528" y="299"/>
                </a:cubicBezTo>
                <a:lnTo>
                  <a:pt x="528" y="299"/>
                </a:lnTo>
                <a:lnTo>
                  <a:pt x="528" y="299"/>
                </a:lnTo>
                <a:cubicBezTo>
                  <a:pt x="528" y="272"/>
                  <a:pt x="525" y="249"/>
                  <a:pt x="516" y="224"/>
                </a:cubicBezTo>
                <a:lnTo>
                  <a:pt x="557" y="183"/>
                </a:lnTo>
                <a:close/>
                <a:moveTo>
                  <a:pt x="284" y="194"/>
                </a:moveTo>
                <a:lnTo>
                  <a:pt x="331" y="146"/>
                </a:lnTo>
                <a:lnTo>
                  <a:pt x="331" y="146"/>
                </a:lnTo>
                <a:cubicBezTo>
                  <a:pt x="318" y="142"/>
                  <a:pt x="306" y="141"/>
                  <a:pt x="292" y="141"/>
                </a:cubicBezTo>
                <a:cubicBezTo>
                  <a:pt x="291" y="141"/>
                  <a:pt x="291" y="141"/>
                  <a:pt x="290" y="141"/>
                </a:cubicBezTo>
                <a:lnTo>
                  <a:pt x="290" y="141"/>
                </a:lnTo>
                <a:cubicBezTo>
                  <a:pt x="261" y="141"/>
                  <a:pt x="236" y="147"/>
                  <a:pt x="211" y="162"/>
                </a:cubicBezTo>
                <a:cubicBezTo>
                  <a:pt x="186" y="177"/>
                  <a:pt x="168" y="195"/>
                  <a:pt x="153" y="220"/>
                </a:cubicBezTo>
                <a:cubicBezTo>
                  <a:pt x="138" y="245"/>
                  <a:pt x="132" y="269"/>
                  <a:pt x="132" y="299"/>
                </a:cubicBezTo>
                <a:cubicBezTo>
                  <a:pt x="132" y="328"/>
                  <a:pt x="138" y="353"/>
                  <a:pt x="153" y="379"/>
                </a:cubicBezTo>
                <a:cubicBezTo>
                  <a:pt x="168" y="404"/>
                  <a:pt x="186" y="422"/>
                  <a:pt x="211" y="437"/>
                </a:cubicBezTo>
                <a:cubicBezTo>
                  <a:pt x="236" y="451"/>
                  <a:pt x="260" y="458"/>
                  <a:pt x="290" y="458"/>
                </a:cubicBezTo>
                <a:cubicBezTo>
                  <a:pt x="319" y="458"/>
                  <a:pt x="344" y="451"/>
                  <a:pt x="370" y="437"/>
                </a:cubicBezTo>
                <a:cubicBezTo>
                  <a:pt x="395" y="422"/>
                  <a:pt x="413" y="404"/>
                  <a:pt x="428" y="379"/>
                </a:cubicBezTo>
                <a:cubicBezTo>
                  <a:pt x="442" y="353"/>
                  <a:pt x="449" y="329"/>
                  <a:pt x="449" y="299"/>
                </a:cubicBezTo>
                <a:lnTo>
                  <a:pt x="449" y="299"/>
                </a:lnTo>
                <a:lnTo>
                  <a:pt x="449" y="299"/>
                </a:lnTo>
                <a:cubicBezTo>
                  <a:pt x="449" y="284"/>
                  <a:pt x="447" y="272"/>
                  <a:pt x="444" y="258"/>
                </a:cubicBezTo>
                <a:lnTo>
                  <a:pt x="396" y="306"/>
                </a:lnTo>
                <a:lnTo>
                  <a:pt x="396" y="306"/>
                </a:lnTo>
                <a:cubicBezTo>
                  <a:pt x="395" y="323"/>
                  <a:pt x="390" y="336"/>
                  <a:pt x="382" y="352"/>
                </a:cubicBezTo>
                <a:cubicBezTo>
                  <a:pt x="372" y="368"/>
                  <a:pt x="360" y="381"/>
                  <a:pt x="344" y="391"/>
                </a:cubicBezTo>
                <a:cubicBezTo>
                  <a:pt x="327" y="401"/>
                  <a:pt x="310" y="405"/>
                  <a:pt x="291" y="405"/>
                </a:cubicBezTo>
                <a:cubicBezTo>
                  <a:pt x="271" y="405"/>
                  <a:pt x="255" y="401"/>
                  <a:pt x="238" y="391"/>
                </a:cubicBezTo>
                <a:cubicBezTo>
                  <a:pt x="221" y="381"/>
                  <a:pt x="209" y="369"/>
                  <a:pt x="199" y="352"/>
                </a:cubicBezTo>
                <a:cubicBezTo>
                  <a:pt x="189" y="335"/>
                  <a:pt x="185" y="318"/>
                  <a:pt x="185" y="299"/>
                </a:cubicBezTo>
                <a:cubicBezTo>
                  <a:pt x="185" y="279"/>
                  <a:pt x="189" y="263"/>
                  <a:pt x="199" y="246"/>
                </a:cubicBezTo>
                <a:cubicBezTo>
                  <a:pt x="209" y="229"/>
                  <a:pt x="221" y="217"/>
                  <a:pt x="238" y="208"/>
                </a:cubicBezTo>
                <a:cubicBezTo>
                  <a:pt x="253" y="199"/>
                  <a:pt x="267" y="195"/>
                  <a:pt x="284" y="194"/>
                </a:cubicBezTo>
                <a:close/>
                <a:moveTo>
                  <a:pt x="384" y="94"/>
                </a:moveTo>
                <a:lnTo>
                  <a:pt x="384" y="169"/>
                </a:lnTo>
                <a:lnTo>
                  <a:pt x="384" y="169"/>
                </a:lnTo>
                <a:lnTo>
                  <a:pt x="272" y="281"/>
                </a:lnTo>
                <a:lnTo>
                  <a:pt x="272" y="281"/>
                </a:lnTo>
                <a:cubicBezTo>
                  <a:pt x="270" y="282"/>
                  <a:pt x="268" y="283"/>
                  <a:pt x="267" y="286"/>
                </a:cubicBezTo>
                <a:cubicBezTo>
                  <a:pt x="264" y="289"/>
                  <a:pt x="264" y="294"/>
                  <a:pt x="264" y="299"/>
                </a:cubicBezTo>
                <a:cubicBezTo>
                  <a:pt x="264" y="303"/>
                  <a:pt x="264" y="308"/>
                  <a:pt x="267" y="313"/>
                </a:cubicBezTo>
                <a:cubicBezTo>
                  <a:pt x="269" y="317"/>
                  <a:pt x="273" y="319"/>
                  <a:pt x="277" y="322"/>
                </a:cubicBezTo>
                <a:cubicBezTo>
                  <a:pt x="281" y="324"/>
                  <a:pt x="285" y="326"/>
                  <a:pt x="290" y="326"/>
                </a:cubicBezTo>
                <a:cubicBezTo>
                  <a:pt x="294" y="326"/>
                  <a:pt x="299" y="325"/>
                  <a:pt x="304" y="322"/>
                </a:cubicBezTo>
                <a:cubicBezTo>
                  <a:pt x="306" y="321"/>
                  <a:pt x="307" y="320"/>
                  <a:pt x="309" y="318"/>
                </a:cubicBezTo>
                <a:lnTo>
                  <a:pt x="423" y="206"/>
                </a:lnTo>
                <a:lnTo>
                  <a:pt x="498" y="206"/>
                </a:lnTo>
                <a:lnTo>
                  <a:pt x="591" y="113"/>
                </a:lnTo>
                <a:lnTo>
                  <a:pt x="535" y="94"/>
                </a:lnTo>
                <a:lnTo>
                  <a:pt x="554" y="75"/>
                </a:lnTo>
                <a:lnTo>
                  <a:pt x="515" y="38"/>
                </a:lnTo>
                <a:lnTo>
                  <a:pt x="496" y="56"/>
                </a:lnTo>
                <a:lnTo>
                  <a:pt x="477" y="0"/>
                </a:lnTo>
                <a:lnTo>
                  <a:pt x="384" y="94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9" name="Freeform 8">
            <a:extLst>
              <a:ext uri="{FF2B5EF4-FFF2-40B4-BE49-F238E27FC236}">
                <a16:creationId xmlns="" xmlns:a16="http://schemas.microsoft.com/office/drawing/2014/main" id="{053B23FD-0EBC-4A69-B092-F56F64EA1B6E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64788" y="1025321"/>
            <a:ext cx="180000" cy="180000"/>
          </a:xfrm>
          <a:custGeom>
            <a:avLst/>
            <a:gdLst>
              <a:gd name="T0" fmla="*/ 476 w 530"/>
              <a:gd name="T1" fmla="*/ 0 h 530"/>
              <a:gd name="T2" fmla="*/ 370 w 530"/>
              <a:gd name="T3" fmla="*/ 0 h 530"/>
              <a:gd name="T4" fmla="*/ 370 w 530"/>
              <a:gd name="T5" fmla="*/ 53 h 530"/>
              <a:gd name="T6" fmla="*/ 438 w 530"/>
              <a:gd name="T7" fmla="*/ 53 h 530"/>
              <a:gd name="T8" fmla="*/ 291 w 530"/>
              <a:gd name="T9" fmla="*/ 201 h 530"/>
              <a:gd name="T10" fmla="*/ 213 w 530"/>
              <a:gd name="T11" fmla="*/ 123 h 530"/>
              <a:gd name="T12" fmla="*/ 53 w 530"/>
              <a:gd name="T13" fmla="*/ 260 h 530"/>
              <a:gd name="T14" fmla="*/ 53 w 530"/>
              <a:gd name="T15" fmla="*/ 212 h 530"/>
              <a:gd name="T16" fmla="*/ 79 w 530"/>
              <a:gd name="T17" fmla="*/ 212 h 530"/>
              <a:gd name="T18" fmla="*/ 79 w 530"/>
              <a:gd name="T19" fmla="*/ 159 h 530"/>
              <a:gd name="T20" fmla="*/ 53 w 530"/>
              <a:gd name="T21" fmla="*/ 159 h 530"/>
              <a:gd name="T22" fmla="*/ 53 w 530"/>
              <a:gd name="T23" fmla="*/ 106 h 530"/>
              <a:gd name="T24" fmla="*/ 79 w 530"/>
              <a:gd name="T25" fmla="*/ 106 h 530"/>
              <a:gd name="T26" fmla="*/ 79 w 530"/>
              <a:gd name="T27" fmla="*/ 53 h 530"/>
              <a:gd name="T28" fmla="*/ 53 w 530"/>
              <a:gd name="T29" fmla="*/ 53 h 530"/>
              <a:gd name="T30" fmla="*/ 53 w 530"/>
              <a:gd name="T31" fmla="*/ 0 h 530"/>
              <a:gd name="T32" fmla="*/ 0 w 530"/>
              <a:gd name="T33" fmla="*/ 0 h 530"/>
              <a:gd name="T34" fmla="*/ 0 w 530"/>
              <a:gd name="T35" fmla="*/ 476 h 530"/>
              <a:gd name="T36" fmla="*/ 0 w 530"/>
              <a:gd name="T37" fmla="*/ 529 h 530"/>
              <a:gd name="T38" fmla="*/ 53 w 530"/>
              <a:gd name="T39" fmla="*/ 529 h 530"/>
              <a:gd name="T40" fmla="*/ 529 w 530"/>
              <a:gd name="T41" fmla="*/ 529 h 530"/>
              <a:gd name="T42" fmla="*/ 529 w 530"/>
              <a:gd name="T43" fmla="*/ 476 h 530"/>
              <a:gd name="T44" fmla="*/ 476 w 530"/>
              <a:gd name="T45" fmla="*/ 476 h 530"/>
              <a:gd name="T46" fmla="*/ 476 w 530"/>
              <a:gd name="T47" fmla="*/ 449 h 530"/>
              <a:gd name="T48" fmla="*/ 423 w 530"/>
              <a:gd name="T49" fmla="*/ 449 h 530"/>
              <a:gd name="T50" fmla="*/ 423 w 530"/>
              <a:gd name="T51" fmla="*/ 476 h 530"/>
              <a:gd name="T52" fmla="*/ 370 w 530"/>
              <a:gd name="T53" fmla="*/ 476 h 530"/>
              <a:gd name="T54" fmla="*/ 370 w 530"/>
              <a:gd name="T55" fmla="*/ 449 h 530"/>
              <a:gd name="T56" fmla="*/ 317 w 530"/>
              <a:gd name="T57" fmla="*/ 449 h 530"/>
              <a:gd name="T58" fmla="*/ 317 w 530"/>
              <a:gd name="T59" fmla="*/ 476 h 530"/>
              <a:gd name="T60" fmla="*/ 264 w 530"/>
              <a:gd name="T61" fmla="*/ 476 h 530"/>
              <a:gd name="T62" fmla="*/ 264 w 530"/>
              <a:gd name="T63" fmla="*/ 449 h 530"/>
              <a:gd name="T64" fmla="*/ 211 w 530"/>
              <a:gd name="T65" fmla="*/ 449 h 530"/>
              <a:gd name="T66" fmla="*/ 211 w 530"/>
              <a:gd name="T67" fmla="*/ 476 h 530"/>
              <a:gd name="T68" fmla="*/ 158 w 530"/>
              <a:gd name="T69" fmla="*/ 476 h 530"/>
              <a:gd name="T70" fmla="*/ 158 w 530"/>
              <a:gd name="T71" fmla="*/ 449 h 530"/>
              <a:gd name="T72" fmla="*/ 105 w 530"/>
              <a:gd name="T73" fmla="*/ 449 h 530"/>
              <a:gd name="T74" fmla="*/ 105 w 530"/>
              <a:gd name="T75" fmla="*/ 476 h 530"/>
              <a:gd name="T76" fmla="*/ 53 w 530"/>
              <a:gd name="T77" fmla="*/ 476 h 530"/>
              <a:gd name="T78" fmla="*/ 53 w 530"/>
              <a:gd name="T79" fmla="*/ 423 h 530"/>
              <a:gd name="T80" fmla="*/ 79 w 530"/>
              <a:gd name="T81" fmla="*/ 423 h 530"/>
              <a:gd name="T82" fmla="*/ 79 w 530"/>
              <a:gd name="T83" fmla="*/ 370 h 530"/>
              <a:gd name="T84" fmla="*/ 53 w 530"/>
              <a:gd name="T85" fmla="*/ 370 h 530"/>
              <a:gd name="T86" fmla="*/ 53 w 530"/>
              <a:gd name="T87" fmla="*/ 329 h 530"/>
              <a:gd name="T88" fmla="*/ 210 w 530"/>
              <a:gd name="T89" fmla="*/ 195 h 530"/>
              <a:gd name="T90" fmla="*/ 291 w 530"/>
              <a:gd name="T91" fmla="*/ 275 h 530"/>
              <a:gd name="T92" fmla="*/ 476 w 530"/>
              <a:gd name="T93" fmla="*/ 90 h 530"/>
              <a:gd name="T94" fmla="*/ 476 w 530"/>
              <a:gd name="T95" fmla="*/ 159 h 530"/>
              <a:gd name="T96" fmla="*/ 529 w 530"/>
              <a:gd name="T97" fmla="*/ 159 h 530"/>
              <a:gd name="T98" fmla="*/ 529 w 530"/>
              <a:gd name="T99" fmla="*/ 53 h 530"/>
              <a:gd name="T100" fmla="*/ 529 w 530"/>
              <a:gd name="T101" fmla="*/ 0 h 530"/>
              <a:gd name="T102" fmla="*/ 476 w 530"/>
              <a:gd name="T103" fmla="*/ 0 h 5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30" h="530">
                <a:moveTo>
                  <a:pt x="476" y="0"/>
                </a:moveTo>
                <a:lnTo>
                  <a:pt x="370" y="0"/>
                </a:lnTo>
                <a:lnTo>
                  <a:pt x="370" y="53"/>
                </a:lnTo>
                <a:lnTo>
                  <a:pt x="438" y="53"/>
                </a:lnTo>
                <a:lnTo>
                  <a:pt x="291" y="201"/>
                </a:lnTo>
                <a:lnTo>
                  <a:pt x="213" y="123"/>
                </a:lnTo>
                <a:lnTo>
                  <a:pt x="53" y="260"/>
                </a:lnTo>
                <a:lnTo>
                  <a:pt x="53" y="212"/>
                </a:lnTo>
                <a:lnTo>
                  <a:pt x="79" y="212"/>
                </a:lnTo>
                <a:lnTo>
                  <a:pt x="79" y="159"/>
                </a:lnTo>
                <a:lnTo>
                  <a:pt x="53" y="159"/>
                </a:lnTo>
                <a:lnTo>
                  <a:pt x="53" y="106"/>
                </a:lnTo>
                <a:lnTo>
                  <a:pt x="79" y="106"/>
                </a:lnTo>
                <a:lnTo>
                  <a:pt x="79" y="53"/>
                </a:lnTo>
                <a:lnTo>
                  <a:pt x="53" y="53"/>
                </a:lnTo>
                <a:lnTo>
                  <a:pt x="53" y="0"/>
                </a:lnTo>
                <a:lnTo>
                  <a:pt x="0" y="0"/>
                </a:lnTo>
                <a:lnTo>
                  <a:pt x="0" y="476"/>
                </a:lnTo>
                <a:lnTo>
                  <a:pt x="0" y="529"/>
                </a:lnTo>
                <a:lnTo>
                  <a:pt x="53" y="529"/>
                </a:lnTo>
                <a:lnTo>
                  <a:pt x="529" y="529"/>
                </a:lnTo>
                <a:lnTo>
                  <a:pt x="529" y="476"/>
                </a:lnTo>
                <a:lnTo>
                  <a:pt x="476" y="476"/>
                </a:lnTo>
                <a:lnTo>
                  <a:pt x="476" y="449"/>
                </a:lnTo>
                <a:lnTo>
                  <a:pt x="423" y="449"/>
                </a:lnTo>
                <a:lnTo>
                  <a:pt x="423" y="476"/>
                </a:lnTo>
                <a:lnTo>
                  <a:pt x="370" y="476"/>
                </a:lnTo>
                <a:lnTo>
                  <a:pt x="370" y="449"/>
                </a:lnTo>
                <a:lnTo>
                  <a:pt x="317" y="449"/>
                </a:lnTo>
                <a:lnTo>
                  <a:pt x="317" y="476"/>
                </a:lnTo>
                <a:lnTo>
                  <a:pt x="264" y="476"/>
                </a:lnTo>
                <a:lnTo>
                  <a:pt x="264" y="449"/>
                </a:lnTo>
                <a:lnTo>
                  <a:pt x="211" y="449"/>
                </a:lnTo>
                <a:lnTo>
                  <a:pt x="211" y="476"/>
                </a:lnTo>
                <a:lnTo>
                  <a:pt x="158" y="476"/>
                </a:lnTo>
                <a:lnTo>
                  <a:pt x="158" y="449"/>
                </a:lnTo>
                <a:lnTo>
                  <a:pt x="105" y="449"/>
                </a:lnTo>
                <a:lnTo>
                  <a:pt x="105" y="476"/>
                </a:lnTo>
                <a:lnTo>
                  <a:pt x="53" y="476"/>
                </a:lnTo>
                <a:lnTo>
                  <a:pt x="53" y="423"/>
                </a:lnTo>
                <a:lnTo>
                  <a:pt x="79" y="423"/>
                </a:lnTo>
                <a:lnTo>
                  <a:pt x="79" y="370"/>
                </a:lnTo>
                <a:lnTo>
                  <a:pt x="53" y="370"/>
                </a:lnTo>
                <a:lnTo>
                  <a:pt x="53" y="329"/>
                </a:lnTo>
                <a:lnTo>
                  <a:pt x="210" y="195"/>
                </a:lnTo>
                <a:lnTo>
                  <a:pt x="291" y="275"/>
                </a:lnTo>
                <a:lnTo>
                  <a:pt x="476" y="90"/>
                </a:lnTo>
                <a:lnTo>
                  <a:pt x="476" y="159"/>
                </a:lnTo>
                <a:lnTo>
                  <a:pt x="529" y="159"/>
                </a:lnTo>
                <a:lnTo>
                  <a:pt x="529" y="53"/>
                </a:lnTo>
                <a:lnTo>
                  <a:pt x="529" y="0"/>
                </a:lnTo>
                <a:lnTo>
                  <a:pt x="476" y="0"/>
                </a:lnTo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18635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Основной: Дэшбор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6364BA47-5A5A-1042-809F-A11F25E27FBA}"/>
              </a:ext>
            </a:extLst>
          </p:cNvPr>
          <p:cNvSpPr/>
          <p:nvPr userDrawn="1"/>
        </p:nvSpPr>
        <p:spPr>
          <a:xfrm>
            <a:off x="9301656" y="1355838"/>
            <a:ext cx="2890344" cy="51474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algn="ctr" rotWithShape="0">
              <a:schemeClr val="tx1"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72CC20C-CF57-C947-95A7-B9B5F59AD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3E4BF9B0-05C2-FC46-950D-720C936ACFCD}"/>
              </a:ext>
            </a:extLst>
          </p:cNvPr>
          <p:cNvSpPr/>
          <p:nvPr userDrawn="1"/>
        </p:nvSpPr>
        <p:spPr>
          <a:xfrm>
            <a:off x="0" y="1355835"/>
            <a:ext cx="9080939" cy="514744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algn="ctr" rotWithShape="0">
              <a:schemeClr val="tx1"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08828E4F-2A57-CC40-A596-A0F598298AA6}"/>
              </a:ext>
            </a:extLst>
          </p:cNvPr>
          <p:cNvSpPr txBox="1"/>
          <p:nvPr userDrawn="1"/>
        </p:nvSpPr>
        <p:spPr>
          <a:xfrm>
            <a:off x="835573" y="988928"/>
            <a:ext cx="416209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l"/>
            <a:r>
              <a:rPr lang="ru-RU" sz="1800" b="0" dirty="0">
                <a:solidFill>
                  <a:schemeClr val="tx1">
                    <a:alpha val="60000"/>
                  </a:schemeClr>
                </a:solidFill>
                <a:latin typeface="+mj-lt"/>
              </a:rPr>
              <a:t>Планы 2</a:t>
            </a:r>
            <a:r>
              <a:rPr lang="en-US" sz="1800" b="0" dirty="0">
                <a:solidFill>
                  <a:schemeClr val="tx1">
                    <a:alpha val="60000"/>
                  </a:schemeClr>
                </a:solidFill>
                <a:latin typeface="+mj-lt"/>
              </a:rPr>
              <a:t>H2018</a:t>
            </a:r>
            <a:r>
              <a:rPr lang="ru-RU" sz="1800" b="0" dirty="0">
                <a:solidFill>
                  <a:schemeClr val="tx1">
                    <a:alpha val="60000"/>
                  </a:schemeClr>
                </a:solidFill>
                <a:latin typeface="+mj-lt"/>
              </a:rPr>
              <a:t> и 2019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1E581CF7-780D-0B43-B0B2-B0E60C28D9B5}"/>
              </a:ext>
            </a:extLst>
          </p:cNvPr>
          <p:cNvSpPr txBox="1"/>
          <p:nvPr userDrawn="1"/>
        </p:nvSpPr>
        <p:spPr>
          <a:xfrm>
            <a:off x="9744422" y="988928"/>
            <a:ext cx="175615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b="0" dirty="0">
                <a:solidFill>
                  <a:schemeClr val="tx1">
                    <a:alpha val="60000"/>
                  </a:schemeClr>
                </a:solidFill>
                <a:latin typeface="+mj-lt"/>
              </a:rPr>
              <a:t>Риски</a:t>
            </a:r>
          </a:p>
        </p:txBody>
      </p:sp>
      <p:sp>
        <p:nvSpPr>
          <p:cNvPr id="7" name="Freeform 7">
            <a:extLst>
              <a:ext uri="{FF2B5EF4-FFF2-40B4-BE49-F238E27FC236}">
                <a16:creationId xmlns="" xmlns:a16="http://schemas.microsoft.com/office/drawing/2014/main" id="{E3C5AA74-14AF-7E4C-AB55-10365F4E0CC3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9444876" y="1013179"/>
            <a:ext cx="216000" cy="216000"/>
          </a:xfrm>
          <a:custGeom>
            <a:avLst/>
            <a:gdLst>
              <a:gd name="T0" fmla="*/ 557 w 592"/>
              <a:gd name="T1" fmla="*/ 183 h 590"/>
              <a:gd name="T2" fmla="*/ 543 w 592"/>
              <a:gd name="T3" fmla="*/ 445 h 590"/>
              <a:gd name="T4" fmla="*/ 291 w 592"/>
              <a:gd name="T5" fmla="*/ 589 h 590"/>
              <a:gd name="T6" fmla="*/ 39 w 592"/>
              <a:gd name="T7" fmla="*/ 445 h 590"/>
              <a:gd name="T8" fmla="*/ 39 w 592"/>
              <a:gd name="T9" fmla="*/ 154 h 590"/>
              <a:gd name="T10" fmla="*/ 291 w 592"/>
              <a:gd name="T11" fmla="*/ 9 h 590"/>
              <a:gd name="T12" fmla="*/ 366 w 592"/>
              <a:gd name="T13" fmla="*/ 74 h 590"/>
              <a:gd name="T14" fmla="*/ 290 w 592"/>
              <a:gd name="T15" fmla="*/ 62 h 590"/>
              <a:gd name="T16" fmla="*/ 290 w 592"/>
              <a:gd name="T17" fmla="*/ 62 h 590"/>
              <a:gd name="T18" fmla="*/ 84 w 592"/>
              <a:gd name="T19" fmla="*/ 180 h 590"/>
              <a:gd name="T20" fmla="*/ 84 w 592"/>
              <a:gd name="T21" fmla="*/ 418 h 590"/>
              <a:gd name="T22" fmla="*/ 290 w 592"/>
              <a:gd name="T23" fmla="*/ 537 h 590"/>
              <a:gd name="T24" fmla="*/ 497 w 592"/>
              <a:gd name="T25" fmla="*/ 418 h 590"/>
              <a:gd name="T26" fmla="*/ 528 w 592"/>
              <a:gd name="T27" fmla="*/ 299 h 590"/>
              <a:gd name="T28" fmla="*/ 516 w 592"/>
              <a:gd name="T29" fmla="*/ 224 h 590"/>
              <a:gd name="T30" fmla="*/ 284 w 592"/>
              <a:gd name="T31" fmla="*/ 194 h 590"/>
              <a:gd name="T32" fmla="*/ 331 w 592"/>
              <a:gd name="T33" fmla="*/ 146 h 590"/>
              <a:gd name="T34" fmla="*/ 290 w 592"/>
              <a:gd name="T35" fmla="*/ 141 h 590"/>
              <a:gd name="T36" fmla="*/ 211 w 592"/>
              <a:gd name="T37" fmla="*/ 162 h 590"/>
              <a:gd name="T38" fmla="*/ 132 w 592"/>
              <a:gd name="T39" fmla="*/ 299 h 590"/>
              <a:gd name="T40" fmla="*/ 211 w 592"/>
              <a:gd name="T41" fmla="*/ 437 h 590"/>
              <a:gd name="T42" fmla="*/ 370 w 592"/>
              <a:gd name="T43" fmla="*/ 437 h 590"/>
              <a:gd name="T44" fmla="*/ 449 w 592"/>
              <a:gd name="T45" fmla="*/ 299 h 590"/>
              <a:gd name="T46" fmla="*/ 449 w 592"/>
              <a:gd name="T47" fmla="*/ 299 h 590"/>
              <a:gd name="T48" fmla="*/ 396 w 592"/>
              <a:gd name="T49" fmla="*/ 306 h 590"/>
              <a:gd name="T50" fmla="*/ 382 w 592"/>
              <a:gd name="T51" fmla="*/ 352 h 590"/>
              <a:gd name="T52" fmla="*/ 291 w 592"/>
              <a:gd name="T53" fmla="*/ 405 h 590"/>
              <a:gd name="T54" fmla="*/ 199 w 592"/>
              <a:gd name="T55" fmla="*/ 352 h 590"/>
              <a:gd name="T56" fmla="*/ 199 w 592"/>
              <a:gd name="T57" fmla="*/ 246 h 590"/>
              <a:gd name="T58" fmla="*/ 284 w 592"/>
              <a:gd name="T59" fmla="*/ 194 h 590"/>
              <a:gd name="T60" fmla="*/ 384 w 592"/>
              <a:gd name="T61" fmla="*/ 169 h 590"/>
              <a:gd name="T62" fmla="*/ 272 w 592"/>
              <a:gd name="T63" fmla="*/ 281 h 590"/>
              <a:gd name="T64" fmla="*/ 267 w 592"/>
              <a:gd name="T65" fmla="*/ 286 h 590"/>
              <a:gd name="T66" fmla="*/ 267 w 592"/>
              <a:gd name="T67" fmla="*/ 313 h 590"/>
              <a:gd name="T68" fmla="*/ 290 w 592"/>
              <a:gd name="T69" fmla="*/ 326 h 590"/>
              <a:gd name="T70" fmla="*/ 309 w 592"/>
              <a:gd name="T71" fmla="*/ 318 h 590"/>
              <a:gd name="T72" fmla="*/ 498 w 592"/>
              <a:gd name="T73" fmla="*/ 206 h 590"/>
              <a:gd name="T74" fmla="*/ 535 w 592"/>
              <a:gd name="T75" fmla="*/ 94 h 590"/>
              <a:gd name="T76" fmla="*/ 515 w 592"/>
              <a:gd name="T77" fmla="*/ 38 h 590"/>
              <a:gd name="T78" fmla="*/ 477 w 592"/>
              <a:gd name="T79" fmla="*/ 0 h 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92" h="590">
                <a:moveTo>
                  <a:pt x="557" y="183"/>
                </a:moveTo>
                <a:lnTo>
                  <a:pt x="557" y="183"/>
                </a:lnTo>
                <a:cubicBezTo>
                  <a:pt x="574" y="221"/>
                  <a:pt x="582" y="257"/>
                  <a:pt x="582" y="299"/>
                </a:cubicBezTo>
                <a:cubicBezTo>
                  <a:pt x="582" y="353"/>
                  <a:pt x="569" y="398"/>
                  <a:pt x="543" y="445"/>
                </a:cubicBezTo>
                <a:cubicBezTo>
                  <a:pt x="516" y="491"/>
                  <a:pt x="482" y="524"/>
                  <a:pt x="436" y="551"/>
                </a:cubicBezTo>
                <a:cubicBezTo>
                  <a:pt x="390" y="577"/>
                  <a:pt x="344" y="589"/>
                  <a:pt x="291" y="589"/>
                </a:cubicBezTo>
                <a:cubicBezTo>
                  <a:pt x="237" y="589"/>
                  <a:pt x="191" y="577"/>
                  <a:pt x="145" y="551"/>
                </a:cubicBezTo>
                <a:cubicBezTo>
                  <a:pt x="99" y="524"/>
                  <a:pt x="65" y="491"/>
                  <a:pt x="39" y="445"/>
                </a:cubicBezTo>
                <a:cubicBezTo>
                  <a:pt x="12" y="398"/>
                  <a:pt x="0" y="352"/>
                  <a:pt x="0" y="299"/>
                </a:cubicBezTo>
                <a:cubicBezTo>
                  <a:pt x="0" y="245"/>
                  <a:pt x="12" y="200"/>
                  <a:pt x="39" y="154"/>
                </a:cubicBezTo>
                <a:cubicBezTo>
                  <a:pt x="65" y="108"/>
                  <a:pt x="99" y="73"/>
                  <a:pt x="145" y="47"/>
                </a:cubicBezTo>
                <a:cubicBezTo>
                  <a:pt x="191" y="20"/>
                  <a:pt x="237" y="9"/>
                  <a:pt x="291" y="9"/>
                </a:cubicBezTo>
                <a:cubicBezTo>
                  <a:pt x="333" y="9"/>
                  <a:pt x="369" y="16"/>
                  <a:pt x="407" y="33"/>
                </a:cubicBezTo>
                <a:lnTo>
                  <a:pt x="366" y="74"/>
                </a:lnTo>
                <a:lnTo>
                  <a:pt x="366" y="74"/>
                </a:lnTo>
                <a:cubicBezTo>
                  <a:pt x="341" y="65"/>
                  <a:pt x="318" y="62"/>
                  <a:pt x="290" y="62"/>
                </a:cubicBezTo>
                <a:lnTo>
                  <a:pt x="290" y="62"/>
                </a:lnTo>
                <a:lnTo>
                  <a:pt x="290" y="62"/>
                </a:lnTo>
                <a:cubicBezTo>
                  <a:pt x="247" y="62"/>
                  <a:pt x="209" y="71"/>
                  <a:pt x="171" y="93"/>
                </a:cubicBezTo>
                <a:cubicBezTo>
                  <a:pt x="133" y="115"/>
                  <a:pt x="106" y="142"/>
                  <a:pt x="84" y="180"/>
                </a:cubicBezTo>
                <a:cubicBezTo>
                  <a:pt x="62" y="217"/>
                  <a:pt x="52" y="255"/>
                  <a:pt x="52" y="299"/>
                </a:cubicBezTo>
                <a:cubicBezTo>
                  <a:pt x="52" y="342"/>
                  <a:pt x="62" y="380"/>
                  <a:pt x="84" y="418"/>
                </a:cubicBezTo>
                <a:cubicBezTo>
                  <a:pt x="106" y="456"/>
                  <a:pt x="133" y="483"/>
                  <a:pt x="171" y="505"/>
                </a:cubicBezTo>
                <a:cubicBezTo>
                  <a:pt x="209" y="526"/>
                  <a:pt x="246" y="537"/>
                  <a:pt x="290" y="537"/>
                </a:cubicBezTo>
                <a:cubicBezTo>
                  <a:pt x="333" y="537"/>
                  <a:pt x="371" y="526"/>
                  <a:pt x="409" y="505"/>
                </a:cubicBezTo>
                <a:cubicBezTo>
                  <a:pt x="447" y="483"/>
                  <a:pt x="475" y="456"/>
                  <a:pt x="497" y="418"/>
                </a:cubicBezTo>
                <a:cubicBezTo>
                  <a:pt x="519" y="380"/>
                  <a:pt x="528" y="343"/>
                  <a:pt x="528" y="299"/>
                </a:cubicBezTo>
                <a:lnTo>
                  <a:pt x="528" y="299"/>
                </a:lnTo>
                <a:lnTo>
                  <a:pt x="528" y="299"/>
                </a:lnTo>
                <a:cubicBezTo>
                  <a:pt x="528" y="272"/>
                  <a:pt x="525" y="249"/>
                  <a:pt x="516" y="224"/>
                </a:cubicBezTo>
                <a:lnTo>
                  <a:pt x="557" y="183"/>
                </a:lnTo>
                <a:close/>
                <a:moveTo>
                  <a:pt x="284" y="194"/>
                </a:moveTo>
                <a:lnTo>
                  <a:pt x="331" y="146"/>
                </a:lnTo>
                <a:lnTo>
                  <a:pt x="331" y="146"/>
                </a:lnTo>
                <a:cubicBezTo>
                  <a:pt x="318" y="142"/>
                  <a:pt x="306" y="141"/>
                  <a:pt x="292" y="141"/>
                </a:cubicBezTo>
                <a:cubicBezTo>
                  <a:pt x="291" y="141"/>
                  <a:pt x="291" y="141"/>
                  <a:pt x="290" y="141"/>
                </a:cubicBezTo>
                <a:lnTo>
                  <a:pt x="290" y="141"/>
                </a:lnTo>
                <a:cubicBezTo>
                  <a:pt x="261" y="141"/>
                  <a:pt x="236" y="147"/>
                  <a:pt x="211" y="162"/>
                </a:cubicBezTo>
                <a:cubicBezTo>
                  <a:pt x="186" y="177"/>
                  <a:pt x="168" y="195"/>
                  <a:pt x="153" y="220"/>
                </a:cubicBezTo>
                <a:cubicBezTo>
                  <a:pt x="138" y="245"/>
                  <a:pt x="132" y="269"/>
                  <a:pt x="132" y="299"/>
                </a:cubicBezTo>
                <a:cubicBezTo>
                  <a:pt x="132" y="328"/>
                  <a:pt x="138" y="353"/>
                  <a:pt x="153" y="379"/>
                </a:cubicBezTo>
                <a:cubicBezTo>
                  <a:pt x="168" y="404"/>
                  <a:pt x="186" y="422"/>
                  <a:pt x="211" y="437"/>
                </a:cubicBezTo>
                <a:cubicBezTo>
                  <a:pt x="236" y="451"/>
                  <a:pt x="260" y="458"/>
                  <a:pt x="290" y="458"/>
                </a:cubicBezTo>
                <a:cubicBezTo>
                  <a:pt x="319" y="458"/>
                  <a:pt x="344" y="451"/>
                  <a:pt x="370" y="437"/>
                </a:cubicBezTo>
                <a:cubicBezTo>
                  <a:pt x="395" y="422"/>
                  <a:pt x="413" y="404"/>
                  <a:pt x="428" y="379"/>
                </a:cubicBezTo>
                <a:cubicBezTo>
                  <a:pt x="442" y="353"/>
                  <a:pt x="449" y="329"/>
                  <a:pt x="449" y="299"/>
                </a:cubicBezTo>
                <a:lnTo>
                  <a:pt x="449" y="299"/>
                </a:lnTo>
                <a:lnTo>
                  <a:pt x="449" y="299"/>
                </a:lnTo>
                <a:cubicBezTo>
                  <a:pt x="449" y="284"/>
                  <a:pt x="447" y="272"/>
                  <a:pt x="444" y="258"/>
                </a:cubicBezTo>
                <a:lnTo>
                  <a:pt x="396" y="306"/>
                </a:lnTo>
                <a:lnTo>
                  <a:pt x="396" y="306"/>
                </a:lnTo>
                <a:cubicBezTo>
                  <a:pt x="395" y="323"/>
                  <a:pt x="390" y="336"/>
                  <a:pt x="382" y="352"/>
                </a:cubicBezTo>
                <a:cubicBezTo>
                  <a:pt x="372" y="368"/>
                  <a:pt x="360" y="381"/>
                  <a:pt x="344" y="391"/>
                </a:cubicBezTo>
                <a:cubicBezTo>
                  <a:pt x="327" y="401"/>
                  <a:pt x="310" y="405"/>
                  <a:pt x="291" y="405"/>
                </a:cubicBezTo>
                <a:cubicBezTo>
                  <a:pt x="271" y="405"/>
                  <a:pt x="255" y="401"/>
                  <a:pt x="238" y="391"/>
                </a:cubicBezTo>
                <a:cubicBezTo>
                  <a:pt x="221" y="381"/>
                  <a:pt x="209" y="369"/>
                  <a:pt x="199" y="352"/>
                </a:cubicBezTo>
                <a:cubicBezTo>
                  <a:pt x="189" y="335"/>
                  <a:pt x="185" y="318"/>
                  <a:pt x="185" y="299"/>
                </a:cubicBezTo>
                <a:cubicBezTo>
                  <a:pt x="185" y="279"/>
                  <a:pt x="189" y="263"/>
                  <a:pt x="199" y="246"/>
                </a:cubicBezTo>
                <a:cubicBezTo>
                  <a:pt x="209" y="229"/>
                  <a:pt x="221" y="217"/>
                  <a:pt x="238" y="208"/>
                </a:cubicBezTo>
                <a:cubicBezTo>
                  <a:pt x="253" y="199"/>
                  <a:pt x="267" y="195"/>
                  <a:pt x="284" y="194"/>
                </a:cubicBezTo>
                <a:close/>
                <a:moveTo>
                  <a:pt x="384" y="94"/>
                </a:moveTo>
                <a:lnTo>
                  <a:pt x="384" y="169"/>
                </a:lnTo>
                <a:lnTo>
                  <a:pt x="384" y="169"/>
                </a:lnTo>
                <a:lnTo>
                  <a:pt x="272" y="281"/>
                </a:lnTo>
                <a:lnTo>
                  <a:pt x="272" y="281"/>
                </a:lnTo>
                <a:cubicBezTo>
                  <a:pt x="270" y="282"/>
                  <a:pt x="268" y="283"/>
                  <a:pt x="267" y="286"/>
                </a:cubicBezTo>
                <a:cubicBezTo>
                  <a:pt x="264" y="289"/>
                  <a:pt x="264" y="294"/>
                  <a:pt x="264" y="299"/>
                </a:cubicBezTo>
                <a:cubicBezTo>
                  <a:pt x="264" y="303"/>
                  <a:pt x="264" y="308"/>
                  <a:pt x="267" y="313"/>
                </a:cubicBezTo>
                <a:cubicBezTo>
                  <a:pt x="269" y="317"/>
                  <a:pt x="273" y="319"/>
                  <a:pt x="277" y="322"/>
                </a:cubicBezTo>
                <a:cubicBezTo>
                  <a:pt x="281" y="324"/>
                  <a:pt x="285" y="326"/>
                  <a:pt x="290" y="326"/>
                </a:cubicBezTo>
                <a:cubicBezTo>
                  <a:pt x="294" y="326"/>
                  <a:pt x="299" y="325"/>
                  <a:pt x="304" y="322"/>
                </a:cubicBezTo>
                <a:cubicBezTo>
                  <a:pt x="306" y="321"/>
                  <a:pt x="307" y="320"/>
                  <a:pt x="309" y="318"/>
                </a:cubicBezTo>
                <a:lnTo>
                  <a:pt x="423" y="206"/>
                </a:lnTo>
                <a:lnTo>
                  <a:pt x="498" y="206"/>
                </a:lnTo>
                <a:lnTo>
                  <a:pt x="591" y="113"/>
                </a:lnTo>
                <a:lnTo>
                  <a:pt x="535" y="94"/>
                </a:lnTo>
                <a:lnTo>
                  <a:pt x="554" y="75"/>
                </a:lnTo>
                <a:lnTo>
                  <a:pt x="515" y="38"/>
                </a:lnTo>
                <a:lnTo>
                  <a:pt x="496" y="56"/>
                </a:lnTo>
                <a:lnTo>
                  <a:pt x="477" y="0"/>
                </a:lnTo>
                <a:lnTo>
                  <a:pt x="384" y="94"/>
                </a:lnTo>
                <a:close/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8" name="Freeform 8">
            <a:extLst>
              <a:ext uri="{FF2B5EF4-FFF2-40B4-BE49-F238E27FC236}">
                <a16:creationId xmlns="" xmlns:a16="http://schemas.microsoft.com/office/drawing/2014/main" id="{94AF67C7-814F-114F-AD67-B00F030C0ABA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64788" y="1025321"/>
            <a:ext cx="180000" cy="180000"/>
          </a:xfrm>
          <a:custGeom>
            <a:avLst/>
            <a:gdLst>
              <a:gd name="T0" fmla="*/ 476 w 530"/>
              <a:gd name="T1" fmla="*/ 0 h 530"/>
              <a:gd name="T2" fmla="*/ 370 w 530"/>
              <a:gd name="T3" fmla="*/ 0 h 530"/>
              <a:gd name="T4" fmla="*/ 370 w 530"/>
              <a:gd name="T5" fmla="*/ 53 h 530"/>
              <a:gd name="T6" fmla="*/ 438 w 530"/>
              <a:gd name="T7" fmla="*/ 53 h 530"/>
              <a:gd name="T8" fmla="*/ 291 w 530"/>
              <a:gd name="T9" fmla="*/ 201 h 530"/>
              <a:gd name="T10" fmla="*/ 213 w 530"/>
              <a:gd name="T11" fmla="*/ 123 h 530"/>
              <a:gd name="T12" fmla="*/ 53 w 530"/>
              <a:gd name="T13" fmla="*/ 260 h 530"/>
              <a:gd name="T14" fmla="*/ 53 w 530"/>
              <a:gd name="T15" fmla="*/ 212 h 530"/>
              <a:gd name="T16" fmla="*/ 79 w 530"/>
              <a:gd name="T17" fmla="*/ 212 h 530"/>
              <a:gd name="T18" fmla="*/ 79 w 530"/>
              <a:gd name="T19" fmla="*/ 159 h 530"/>
              <a:gd name="T20" fmla="*/ 53 w 530"/>
              <a:gd name="T21" fmla="*/ 159 h 530"/>
              <a:gd name="T22" fmla="*/ 53 w 530"/>
              <a:gd name="T23" fmla="*/ 106 h 530"/>
              <a:gd name="T24" fmla="*/ 79 w 530"/>
              <a:gd name="T25" fmla="*/ 106 h 530"/>
              <a:gd name="T26" fmla="*/ 79 w 530"/>
              <a:gd name="T27" fmla="*/ 53 h 530"/>
              <a:gd name="T28" fmla="*/ 53 w 530"/>
              <a:gd name="T29" fmla="*/ 53 h 530"/>
              <a:gd name="T30" fmla="*/ 53 w 530"/>
              <a:gd name="T31" fmla="*/ 0 h 530"/>
              <a:gd name="T32" fmla="*/ 0 w 530"/>
              <a:gd name="T33" fmla="*/ 0 h 530"/>
              <a:gd name="T34" fmla="*/ 0 w 530"/>
              <a:gd name="T35" fmla="*/ 476 h 530"/>
              <a:gd name="T36" fmla="*/ 0 w 530"/>
              <a:gd name="T37" fmla="*/ 529 h 530"/>
              <a:gd name="T38" fmla="*/ 53 w 530"/>
              <a:gd name="T39" fmla="*/ 529 h 530"/>
              <a:gd name="T40" fmla="*/ 529 w 530"/>
              <a:gd name="T41" fmla="*/ 529 h 530"/>
              <a:gd name="T42" fmla="*/ 529 w 530"/>
              <a:gd name="T43" fmla="*/ 476 h 530"/>
              <a:gd name="T44" fmla="*/ 476 w 530"/>
              <a:gd name="T45" fmla="*/ 476 h 530"/>
              <a:gd name="T46" fmla="*/ 476 w 530"/>
              <a:gd name="T47" fmla="*/ 449 h 530"/>
              <a:gd name="T48" fmla="*/ 423 w 530"/>
              <a:gd name="T49" fmla="*/ 449 h 530"/>
              <a:gd name="T50" fmla="*/ 423 w 530"/>
              <a:gd name="T51" fmla="*/ 476 h 530"/>
              <a:gd name="T52" fmla="*/ 370 w 530"/>
              <a:gd name="T53" fmla="*/ 476 h 530"/>
              <a:gd name="T54" fmla="*/ 370 w 530"/>
              <a:gd name="T55" fmla="*/ 449 h 530"/>
              <a:gd name="T56" fmla="*/ 317 w 530"/>
              <a:gd name="T57" fmla="*/ 449 h 530"/>
              <a:gd name="T58" fmla="*/ 317 w 530"/>
              <a:gd name="T59" fmla="*/ 476 h 530"/>
              <a:gd name="T60" fmla="*/ 264 w 530"/>
              <a:gd name="T61" fmla="*/ 476 h 530"/>
              <a:gd name="T62" fmla="*/ 264 w 530"/>
              <a:gd name="T63" fmla="*/ 449 h 530"/>
              <a:gd name="T64" fmla="*/ 211 w 530"/>
              <a:gd name="T65" fmla="*/ 449 h 530"/>
              <a:gd name="T66" fmla="*/ 211 w 530"/>
              <a:gd name="T67" fmla="*/ 476 h 530"/>
              <a:gd name="T68" fmla="*/ 158 w 530"/>
              <a:gd name="T69" fmla="*/ 476 h 530"/>
              <a:gd name="T70" fmla="*/ 158 w 530"/>
              <a:gd name="T71" fmla="*/ 449 h 530"/>
              <a:gd name="T72" fmla="*/ 105 w 530"/>
              <a:gd name="T73" fmla="*/ 449 h 530"/>
              <a:gd name="T74" fmla="*/ 105 w 530"/>
              <a:gd name="T75" fmla="*/ 476 h 530"/>
              <a:gd name="T76" fmla="*/ 53 w 530"/>
              <a:gd name="T77" fmla="*/ 476 h 530"/>
              <a:gd name="T78" fmla="*/ 53 w 530"/>
              <a:gd name="T79" fmla="*/ 423 h 530"/>
              <a:gd name="T80" fmla="*/ 79 w 530"/>
              <a:gd name="T81" fmla="*/ 423 h 530"/>
              <a:gd name="T82" fmla="*/ 79 w 530"/>
              <a:gd name="T83" fmla="*/ 370 h 530"/>
              <a:gd name="T84" fmla="*/ 53 w 530"/>
              <a:gd name="T85" fmla="*/ 370 h 530"/>
              <a:gd name="T86" fmla="*/ 53 w 530"/>
              <a:gd name="T87" fmla="*/ 329 h 530"/>
              <a:gd name="T88" fmla="*/ 210 w 530"/>
              <a:gd name="T89" fmla="*/ 195 h 530"/>
              <a:gd name="T90" fmla="*/ 291 w 530"/>
              <a:gd name="T91" fmla="*/ 275 h 530"/>
              <a:gd name="T92" fmla="*/ 476 w 530"/>
              <a:gd name="T93" fmla="*/ 90 h 530"/>
              <a:gd name="T94" fmla="*/ 476 w 530"/>
              <a:gd name="T95" fmla="*/ 159 h 530"/>
              <a:gd name="T96" fmla="*/ 529 w 530"/>
              <a:gd name="T97" fmla="*/ 159 h 530"/>
              <a:gd name="T98" fmla="*/ 529 w 530"/>
              <a:gd name="T99" fmla="*/ 53 h 530"/>
              <a:gd name="T100" fmla="*/ 529 w 530"/>
              <a:gd name="T101" fmla="*/ 0 h 530"/>
              <a:gd name="T102" fmla="*/ 476 w 530"/>
              <a:gd name="T103" fmla="*/ 0 h 5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30" h="530">
                <a:moveTo>
                  <a:pt x="476" y="0"/>
                </a:moveTo>
                <a:lnTo>
                  <a:pt x="370" y="0"/>
                </a:lnTo>
                <a:lnTo>
                  <a:pt x="370" y="53"/>
                </a:lnTo>
                <a:lnTo>
                  <a:pt x="438" y="53"/>
                </a:lnTo>
                <a:lnTo>
                  <a:pt x="291" y="201"/>
                </a:lnTo>
                <a:lnTo>
                  <a:pt x="213" y="123"/>
                </a:lnTo>
                <a:lnTo>
                  <a:pt x="53" y="260"/>
                </a:lnTo>
                <a:lnTo>
                  <a:pt x="53" y="212"/>
                </a:lnTo>
                <a:lnTo>
                  <a:pt x="79" y="212"/>
                </a:lnTo>
                <a:lnTo>
                  <a:pt x="79" y="159"/>
                </a:lnTo>
                <a:lnTo>
                  <a:pt x="53" y="159"/>
                </a:lnTo>
                <a:lnTo>
                  <a:pt x="53" y="106"/>
                </a:lnTo>
                <a:lnTo>
                  <a:pt x="79" y="106"/>
                </a:lnTo>
                <a:lnTo>
                  <a:pt x="79" y="53"/>
                </a:lnTo>
                <a:lnTo>
                  <a:pt x="53" y="53"/>
                </a:lnTo>
                <a:lnTo>
                  <a:pt x="53" y="0"/>
                </a:lnTo>
                <a:lnTo>
                  <a:pt x="0" y="0"/>
                </a:lnTo>
                <a:lnTo>
                  <a:pt x="0" y="476"/>
                </a:lnTo>
                <a:lnTo>
                  <a:pt x="0" y="529"/>
                </a:lnTo>
                <a:lnTo>
                  <a:pt x="53" y="529"/>
                </a:lnTo>
                <a:lnTo>
                  <a:pt x="529" y="529"/>
                </a:lnTo>
                <a:lnTo>
                  <a:pt x="529" y="476"/>
                </a:lnTo>
                <a:lnTo>
                  <a:pt x="476" y="476"/>
                </a:lnTo>
                <a:lnTo>
                  <a:pt x="476" y="449"/>
                </a:lnTo>
                <a:lnTo>
                  <a:pt x="423" y="449"/>
                </a:lnTo>
                <a:lnTo>
                  <a:pt x="423" y="476"/>
                </a:lnTo>
                <a:lnTo>
                  <a:pt x="370" y="476"/>
                </a:lnTo>
                <a:lnTo>
                  <a:pt x="370" y="449"/>
                </a:lnTo>
                <a:lnTo>
                  <a:pt x="317" y="449"/>
                </a:lnTo>
                <a:lnTo>
                  <a:pt x="317" y="476"/>
                </a:lnTo>
                <a:lnTo>
                  <a:pt x="264" y="476"/>
                </a:lnTo>
                <a:lnTo>
                  <a:pt x="264" y="449"/>
                </a:lnTo>
                <a:lnTo>
                  <a:pt x="211" y="449"/>
                </a:lnTo>
                <a:lnTo>
                  <a:pt x="211" y="476"/>
                </a:lnTo>
                <a:lnTo>
                  <a:pt x="158" y="476"/>
                </a:lnTo>
                <a:lnTo>
                  <a:pt x="158" y="449"/>
                </a:lnTo>
                <a:lnTo>
                  <a:pt x="105" y="449"/>
                </a:lnTo>
                <a:lnTo>
                  <a:pt x="105" y="476"/>
                </a:lnTo>
                <a:lnTo>
                  <a:pt x="53" y="476"/>
                </a:lnTo>
                <a:lnTo>
                  <a:pt x="53" y="423"/>
                </a:lnTo>
                <a:lnTo>
                  <a:pt x="79" y="423"/>
                </a:lnTo>
                <a:lnTo>
                  <a:pt x="79" y="370"/>
                </a:lnTo>
                <a:lnTo>
                  <a:pt x="53" y="370"/>
                </a:lnTo>
                <a:lnTo>
                  <a:pt x="53" y="329"/>
                </a:lnTo>
                <a:lnTo>
                  <a:pt x="210" y="195"/>
                </a:lnTo>
                <a:lnTo>
                  <a:pt x="291" y="275"/>
                </a:lnTo>
                <a:lnTo>
                  <a:pt x="476" y="90"/>
                </a:lnTo>
                <a:lnTo>
                  <a:pt x="476" y="159"/>
                </a:lnTo>
                <a:lnTo>
                  <a:pt x="529" y="159"/>
                </a:lnTo>
                <a:lnTo>
                  <a:pt x="529" y="53"/>
                </a:lnTo>
                <a:lnTo>
                  <a:pt x="529" y="0"/>
                </a:lnTo>
                <a:lnTo>
                  <a:pt x="476" y="0"/>
                </a:lnTo>
              </a:path>
            </a:pathLst>
          </a:custGeom>
          <a:solidFill>
            <a:schemeClr val="tx1">
              <a:alpha val="6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F175D066-FCB6-4BF0-91BE-A464608F9207}"/>
              </a:ext>
            </a:extLst>
          </p:cNvPr>
          <p:cNvSpPr txBox="1"/>
          <p:nvPr userDrawn="1"/>
        </p:nvSpPr>
        <p:spPr>
          <a:xfrm>
            <a:off x="11500581" y="6547344"/>
            <a:ext cx="5397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46E38A9C-1233-5B4D-A1AE-A7549B261D49}" type="slidenum">
              <a:rPr lang="en-US" sz="1200" smtClean="0">
                <a:solidFill>
                  <a:schemeClr val="tx1">
                    <a:alpha val="68000"/>
                  </a:schemeClr>
                </a:solidFill>
              </a:rPr>
              <a:pPr algn="ctr"/>
              <a:t>‹#›</a:t>
            </a:fld>
            <a:endParaRPr lang="en-US" sz="1200" dirty="0">
              <a:solidFill>
                <a:schemeClr val="tx1">
                  <a:alpha val="68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80161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628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54DEA137-5C96-C243-BCED-E5FFD3787C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36828" y="4022097"/>
            <a:ext cx="468000" cy="468000"/>
          </a:xfrm>
          <a:prstGeom prst="rect">
            <a:avLst/>
          </a:prstGeom>
          <a:noFill/>
        </p:spPr>
      </p:pic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FF314E34-780E-754F-8DCA-24B50A7EEF8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79865" y="245087"/>
            <a:ext cx="468000" cy="46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86B7D144-617B-7A4C-86A5-CC5B0B6EF81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92407" y="245087"/>
            <a:ext cx="468000" cy="46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74782CA3-AFCD-9C41-88C4-98A2C092714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254787" y="245087"/>
            <a:ext cx="468000" cy="46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F3E62EA0-573F-8B46-87FF-6517F867FC9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667327" y="245087"/>
            <a:ext cx="468000" cy="46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227ABF4A-9BA4-9942-BE0D-5EB60AA00CF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842247" y="245087"/>
            <a:ext cx="468000" cy="468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66F5BDA5-F586-1D42-A317-56F6279E4A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604627" y="245087"/>
            <a:ext cx="468000" cy="468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="" xmlns:a16="http://schemas.microsoft.com/office/drawing/2014/main" id="{9B4CC8A7-1E21-9A4C-87F8-C76051D29313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017167" y="245087"/>
            <a:ext cx="468000" cy="468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="" xmlns:a16="http://schemas.microsoft.com/office/drawing/2014/main" id="{DBD42981-450A-A54C-A208-42DDD0D5C784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429707" y="245087"/>
            <a:ext cx="468000" cy="4680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="" xmlns:a16="http://schemas.microsoft.com/office/drawing/2014/main" id="{BD12F000-5E4C-0148-AF6B-E10ED807BC1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67647" y="245087"/>
            <a:ext cx="468000" cy="4680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="" xmlns:a16="http://schemas.microsoft.com/office/drawing/2014/main" id="{DCCB4939-014B-6A40-82DD-11EE649949FE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555107" y="245087"/>
            <a:ext cx="468000" cy="4680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="" xmlns:a16="http://schemas.microsoft.com/office/drawing/2014/main" id="{206AD0C4-C858-EB4D-B417-0BE8D317CB09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142567" y="245087"/>
            <a:ext cx="468000" cy="468000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="" xmlns:a16="http://schemas.microsoft.com/office/drawing/2014/main" id="{C669F65B-D840-4F4F-8719-6E6CA0E95E23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2730027" y="245087"/>
            <a:ext cx="468000" cy="46800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="" xmlns:a16="http://schemas.microsoft.com/office/drawing/2014/main" id="{08A8D3F6-531C-7D48-91D9-296D46E44E5A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3317487" y="245087"/>
            <a:ext cx="468000" cy="4680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="" xmlns:a16="http://schemas.microsoft.com/office/drawing/2014/main" id="{63C4BA6E-2183-C84E-BE93-2A70CBE96D1C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3904947" y="245087"/>
            <a:ext cx="468000" cy="468000"/>
          </a:xfrm>
          <a:prstGeom prst="rect">
            <a:avLst/>
          </a:prstGeom>
        </p:spPr>
      </p:pic>
      <p:sp>
        <p:nvSpPr>
          <p:cNvPr id="40" name="Freeform 4">
            <a:extLst>
              <a:ext uri="{FF2B5EF4-FFF2-40B4-BE49-F238E27FC236}">
                <a16:creationId xmlns="" xmlns:a16="http://schemas.microsoft.com/office/drawing/2014/main" id="{01020AE9-FC88-A749-99DC-228F1F4B956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80300" y="3550885"/>
            <a:ext cx="228600" cy="200025"/>
          </a:xfrm>
          <a:custGeom>
            <a:avLst/>
            <a:gdLst>
              <a:gd name="T0" fmla="*/ 556 w 636"/>
              <a:gd name="T1" fmla="*/ 132 h 555"/>
              <a:gd name="T2" fmla="*/ 556 w 636"/>
              <a:gd name="T3" fmla="*/ 0 h 555"/>
              <a:gd name="T4" fmla="*/ 0 w 636"/>
              <a:gd name="T5" fmla="*/ 0 h 555"/>
              <a:gd name="T6" fmla="*/ 0 w 636"/>
              <a:gd name="T7" fmla="*/ 476 h 555"/>
              <a:gd name="T8" fmla="*/ 0 w 636"/>
              <a:gd name="T9" fmla="*/ 476 h 555"/>
              <a:gd name="T10" fmla="*/ 11 w 636"/>
              <a:gd name="T11" fmla="*/ 516 h 555"/>
              <a:gd name="T12" fmla="*/ 40 w 636"/>
              <a:gd name="T13" fmla="*/ 544 h 555"/>
              <a:gd name="T14" fmla="*/ 80 w 636"/>
              <a:gd name="T15" fmla="*/ 554 h 555"/>
              <a:gd name="T16" fmla="*/ 556 w 636"/>
              <a:gd name="T17" fmla="*/ 554 h 555"/>
              <a:gd name="T18" fmla="*/ 556 w 636"/>
              <a:gd name="T19" fmla="*/ 554 h 555"/>
              <a:gd name="T20" fmla="*/ 595 w 636"/>
              <a:gd name="T21" fmla="*/ 544 h 555"/>
              <a:gd name="T22" fmla="*/ 624 w 636"/>
              <a:gd name="T23" fmla="*/ 516 h 555"/>
              <a:gd name="T24" fmla="*/ 635 w 636"/>
              <a:gd name="T25" fmla="*/ 476 h 555"/>
              <a:gd name="T26" fmla="*/ 635 w 636"/>
              <a:gd name="T27" fmla="*/ 132 h 555"/>
              <a:gd name="T28" fmla="*/ 556 w 636"/>
              <a:gd name="T29" fmla="*/ 132 h 555"/>
              <a:gd name="T30" fmla="*/ 80 w 636"/>
              <a:gd name="T31" fmla="*/ 502 h 555"/>
              <a:gd name="T32" fmla="*/ 80 w 636"/>
              <a:gd name="T33" fmla="*/ 502 h 555"/>
              <a:gd name="T34" fmla="*/ 66 w 636"/>
              <a:gd name="T35" fmla="*/ 499 h 555"/>
              <a:gd name="T36" fmla="*/ 57 w 636"/>
              <a:gd name="T37" fmla="*/ 489 h 555"/>
              <a:gd name="T38" fmla="*/ 53 w 636"/>
              <a:gd name="T39" fmla="*/ 476 h 555"/>
              <a:gd name="T40" fmla="*/ 53 w 636"/>
              <a:gd name="T41" fmla="*/ 53 h 555"/>
              <a:gd name="T42" fmla="*/ 503 w 636"/>
              <a:gd name="T43" fmla="*/ 53 h 555"/>
              <a:gd name="T44" fmla="*/ 503 w 636"/>
              <a:gd name="T45" fmla="*/ 449 h 555"/>
              <a:gd name="T46" fmla="*/ 503 w 636"/>
              <a:gd name="T47" fmla="*/ 449 h 555"/>
              <a:gd name="T48" fmla="*/ 510 w 636"/>
              <a:gd name="T49" fmla="*/ 476 h 555"/>
              <a:gd name="T50" fmla="*/ 529 w 636"/>
              <a:gd name="T51" fmla="*/ 495 h 555"/>
              <a:gd name="T52" fmla="*/ 556 w 636"/>
              <a:gd name="T53" fmla="*/ 502 h 555"/>
              <a:gd name="T54" fmla="*/ 80 w 636"/>
              <a:gd name="T55" fmla="*/ 502 h 555"/>
              <a:gd name="T56" fmla="*/ 106 w 636"/>
              <a:gd name="T57" fmla="*/ 106 h 555"/>
              <a:gd name="T58" fmla="*/ 450 w 636"/>
              <a:gd name="T59" fmla="*/ 106 h 555"/>
              <a:gd name="T60" fmla="*/ 450 w 636"/>
              <a:gd name="T61" fmla="*/ 159 h 555"/>
              <a:gd name="T62" fmla="*/ 106 w 636"/>
              <a:gd name="T63" fmla="*/ 159 h 555"/>
              <a:gd name="T64" fmla="*/ 106 w 636"/>
              <a:gd name="T65" fmla="*/ 106 h 555"/>
              <a:gd name="T66" fmla="*/ 291 w 636"/>
              <a:gd name="T67" fmla="*/ 212 h 555"/>
              <a:gd name="T68" fmla="*/ 450 w 636"/>
              <a:gd name="T69" fmla="*/ 212 h 555"/>
              <a:gd name="T70" fmla="*/ 450 w 636"/>
              <a:gd name="T71" fmla="*/ 264 h 555"/>
              <a:gd name="T72" fmla="*/ 291 w 636"/>
              <a:gd name="T73" fmla="*/ 264 h 555"/>
              <a:gd name="T74" fmla="*/ 291 w 636"/>
              <a:gd name="T75" fmla="*/ 212 h 555"/>
              <a:gd name="T76" fmla="*/ 291 w 636"/>
              <a:gd name="T77" fmla="*/ 291 h 555"/>
              <a:gd name="T78" fmla="*/ 450 w 636"/>
              <a:gd name="T79" fmla="*/ 291 h 555"/>
              <a:gd name="T80" fmla="*/ 450 w 636"/>
              <a:gd name="T81" fmla="*/ 344 h 555"/>
              <a:gd name="T82" fmla="*/ 291 w 636"/>
              <a:gd name="T83" fmla="*/ 344 h 555"/>
              <a:gd name="T84" fmla="*/ 291 w 636"/>
              <a:gd name="T85" fmla="*/ 291 h 555"/>
              <a:gd name="T86" fmla="*/ 291 w 636"/>
              <a:gd name="T87" fmla="*/ 370 h 555"/>
              <a:gd name="T88" fmla="*/ 397 w 636"/>
              <a:gd name="T89" fmla="*/ 370 h 555"/>
              <a:gd name="T90" fmla="*/ 397 w 636"/>
              <a:gd name="T91" fmla="*/ 423 h 555"/>
              <a:gd name="T92" fmla="*/ 291 w 636"/>
              <a:gd name="T93" fmla="*/ 423 h 555"/>
              <a:gd name="T94" fmla="*/ 291 w 636"/>
              <a:gd name="T95" fmla="*/ 370 h 555"/>
              <a:gd name="T96" fmla="*/ 106 w 636"/>
              <a:gd name="T97" fmla="*/ 423 h 555"/>
              <a:gd name="T98" fmla="*/ 265 w 636"/>
              <a:gd name="T99" fmla="*/ 423 h 555"/>
              <a:gd name="T100" fmla="*/ 265 w 636"/>
              <a:gd name="T101" fmla="*/ 212 h 555"/>
              <a:gd name="T102" fmla="*/ 106 w 636"/>
              <a:gd name="T103" fmla="*/ 212 h 555"/>
              <a:gd name="T104" fmla="*/ 106 w 636"/>
              <a:gd name="T105" fmla="*/ 423 h 555"/>
              <a:gd name="T106" fmla="*/ 159 w 636"/>
              <a:gd name="T107" fmla="*/ 264 h 555"/>
              <a:gd name="T108" fmla="*/ 212 w 636"/>
              <a:gd name="T109" fmla="*/ 264 h 555"/>
              <a:gd name="T110" fmla="*/ 212 w 636"/>
              <a:gd name="T111" fmla="*/ 370 h 555"/>
              <a:gd name="T112" fmla="*/ 159 w 636"/>
              <a:gd name="T113" fmla="*/ 370 h 555"/>
              <a:gd name="T114" fmla="*/ 159 w 636"/>
              <a:gd name="T115" fmla="*/ 264 h 5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36" h="555">
                <a:moveTo>
                  <a:pt x="556" y="132"/>
                </a:moveTo>
                <a:lnTo>
                  <a:pt x="556" y="0"/>
                </a:lnTo>
                <a:lnTo>
                  <a:pt x="0" y="0"/>
                </a:lnTo>
                <a:lnTo>
                  <a:pt x="0" y="476"/>
                </a:lnTo>
                <a:lnTo>
                  <a:pt x="0" y="476"/>
                </a:lnTo>
                <a:cubicBezTo>
                  <a:pt x="0" y="491"/>
                  <a:pt x="4" y="503"/>
                  <a:pt x="11" y="516"/>
                </a:cubicBezTo>
                <a:cubicBezTo>
                  <a:pt x="18" y="528"/>
                  <a:pt x="27" y="537"/>
                  <a:pt x="40" y="544"/>
                </a:cubicBezTo>
                <a:cubicBezTo>
                  <a:pt x="53" y="552"/>
                  <a:pt x="65" y="554"/>
                  <a:pt x="80" y="554"/>
                </a:cubicBezTo>
                <a:lnTo>
                  <a:pt x="556" y="554"/>
                </a:lnTo>
                <a:lnTo>
                  <a:pt x="556" y="554"/>
                </a:lnTo>
                <a:cubicBezTo>
                  <a:pt x="570" y="554"/>
                  <a:pt x="582" y="552"/>
                  <a:pt x="595" y="544"/>
                </a:cubicBezTo>
                <a:cubicBezTo>
                  <a:pt x="607" y="537"/>
                  <a:pt x="616" y="528"/>
                  <a:pt x="624" y="516"/>
                </a:cubicBezTo>
                <a:cubicBezTo>
                  <a:pt x="631" y="503"/>
                  <a:pt x="635" y="491"/>
                  <a:pt x="635" y="476"/>
                </a:cubicBezTo>
                <a:lnTo>
                  <a:pt x="635" y="132"/>
                </a:lnTo>
                <a:lnTo>
                  <a:pt x="556" y="132"/>
                </a:lnTo>
                <a:close/>
                <a:moveTo>
                  <a:pt x="80" y="502"/>
                </a:moveTo>
                <a:lnTo>
                  <a:pt x="80" y="502"/>
                </a:lnTo>
                <a:cubicBezTo>
                  <a:pt x="75" y="502"/>
                  <a:pt x="71" y="501"/>
                  <a:pt x="66" y="499"/>
                </a:cubicBezTo>
                <a:cubicBezTo>
                  <a:pt x="61" y="496"/>
                  <a:pt x="59" y="493"/>
                  <a:pt x="57" y="489"/>
                </a:cubicBezTo>
                <a:cubicBezTo>
                  <a:pt x="54" y="485"/>
                  <a:pt x="53" y="481"/>
                  <a:pt x="53" y="476"/>
                </a:cubicBezTo>
                <a:lnTo>
                  <a:pt x="53" y="53"/>
                </a:lnTo>
                <a:lnTo>
                  <a:pt x="503" y="53"/>
                </a:lnTo>
                <a:lnTo>
                  <a:pt x="503" y="449"/>
                </a:lnTo>
                <a:lnTo>
                  <a:pt x="503" y="449"/>
                </a:lnTo>
                <a:cubicBezTo>
                  <a:pt x="503" y="459"/>
                  <a:pt x="505" y="467"/>
                  <a:pt x="510" y="476"/>
                </a:cubicBezTo>
                <a:cubicBezTo>
                  <a:pt x="515" y="484"/>
                  <a:pt x="520" y="490"/>
                  <a:pt x="529" y="495"/>
                </a:cubicBezTo>
                <a:cubicBezTo>
                  <a:pt x="537" y="500"/>
                  <a:pt x="546" y="502"/>
                  <a:pt x="556" y="502"/>
                </a:cubicBezTo>
                <a:lnTo>
                  <a:pt x="80" y="502"/>
                </a:lnTo>
                <a:close/>
                <a:moveTo>
                  <a:pt x="106" y="106"/>
                </a:moveTo>
                <a:lnTo>
                  <a:pt x="450" y="106"/>
                </a:lnTo>
                <a:lnTo>
                  <a:pt x="450" y="159"/>
                </a:lnTo>
                <a:lnTo>
                  <a:pt x="106" y="159"/>
                </a:lnTo>
                <a:lnTo>
                  <a:pt x="106" y="106"/>
                </a:lnTo>
                <a:close/>
                <a:moveTo>
                  <a:pt x="291" y="212"/>
                </a:moveTo>
                <a:lnTo>
                  <a:pt x="450" y="212"/>
                </a:lnTo>
                <a:lnTo>
                  <a:pt x="450" y="264"/>
                </a:lnTo>
                <a:lnTo>
                  <a:pt x="291" y="264"/>
                </a:lnTo>
                <a:lnTo>
                  <a:pt x="291" y="212"/>
                </a:lnTo>
                <a:close/>
                <a:moveTo>
                  <a:pt x="291" y="291"/>
                </a:moveTo>
                <a:lnTo>
                  <a:pt x="450" y="291"/>
                </a:lnTo>
                <a:lnTo>
                  <a:pt x="450" y="344"/>
                </a:lnTo>
                <a:lnTo>
                  <a:pt x="291" y="344"/>
                </a:lnTo>
                <a:lnTo>
                  <a:pt x="291" y="291"/>
                </a:lnTo>
                <a:close/>
                <a:moveTo>
                  <a:pt x="291" y="370"/>
                </a:moveTo>
                <a:lnTo>
                  <a:pt x="397" y="370"/>
                </a:lnTo>
                <a:lnTo>
                  <a:pt x="397" y="423"/>
                </a:lnTo>
                <a:lnTo>
                  <a:pt x="291" y="423"/>
                </a:lnTo>
                <a:lnTo>
                  <a:pt x="291" y="370"/>
                </a:lnTo>
                <a:close/>
                <a:moveTo>
                  <a:pt x="106" y="423"/>
                </a:moveTo>
                <a:lnTo>
                  <a:pt x="265" y="423"/>
                </a:lnTo>
                <a:lnTo>
                  <a:pt x="265" y="212"/>
                </a:lnTo>
                <a:lnTo>
                  <a:pt x="106" y="212"/>
                </a:lnTo>
                <a:lnTo>
                  <a:pt x="106" y="423"/>
                </a:lnTo>
                <a:close/>
                <a:moveTo>
                  <a:pt x="159" y="264"/>
                </a:moveTo>
                <a:lnTo>
                  <a:pt x="212" y="264"/>
                </a:lnTo>
                <a:lnTo>
                  <a:pt x="212" y="370"/>
                </a:lnTo>
                <a:lnTo>
                  <a:pt x="159" y="370"/>
                </a:lnTo>
                <a:lnTo>
                  <a:pt x="159" y="26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1" name="Freeform 5">
            <a:extLst>
              <a:ext uri="{FF2B5EF4-FFF2-40B4-BE49-F238E27FC236}">
                <a16:creationId xmlns="" xmlns:a16="http://schemas.microsoft.com/office/drawing/2014/main" id="{2C0B17E3-62D9-7948-AFA5-EB1AF6F344C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74038" y="3531835"/>
            <a:ext cx="209551" cy="200025"/>
          </a:xfrm>
          <a:custGeom>
            <a:avLst/>
            <a:gdLst>
              <a:gd name="T0" fmla="*/ 582 w 583"/>
              <a:gd name="T1" fmla="*/ 502 h 556"/>
              <a:gd name="T2" fmla="*/ 575 w 583"/>
              <a:gd name="T3" fmla="*/ 528 h 556"/>
              <a:gd name="T4" fmla="*/ 529 w 583"/>
              <a:gd name="T5" fmla="*/ 555 h 556"/>
              <a:gd name="T6" fmla="*/ 53 w 583"/>
              <a:gd name="T7" fmla="*/ 555 h 556"/>
              <a:gd name="T8" fmla="*/ 7 w 583"/>
              <a:gd name="T9" fmla="*/ 528 h 556"/>
              <a:gd name="T10" fmla="*/ 0 w 583"/>
              <a:gd name="T11" fmla="*/ 105 h 556"/>
              <a:gd name="T12" fmla="*/ 7 w 583"/>
              <a:gd name="T13" fmla="*/ 79 h 556"/>
              <a:gd name="T14" fmla="*/ 53 w 583"/>
              <a:gd name="T15" fmla="*/ 53 h 556"/>
              <a:gd name="T16" fmla="*/ 106 w 583"/>
              <a:gd name="T17" fmla="*/ 105 h 556"/>
              <a:gd name="T18" fmla="*/ 53 w 583"/>
              <a:gd name="T19" fmla="*/ 502 h 556"/>
              <a:gd name="T20" fmla="*/ 529 w 583"/>
              <a:gd name="T21" fmla="*/ 105 h 556"/>
              <a:gd name="T22" fmla="*/ 450 w 583"/>
              <a:gd name="T23" fmla="*/ 158 h 556"/>
              <a:gd name="T24" fmla="*/ 397 w 583"/>
              <a:gd name="T25" fmla="*/ 0 h 556"/>
              <a:gd name="T26" fmla="*/ 450 w 583"/>
              <a:gd name="T27" fmla="*/ 53 h 556"/>
              <a:gd name="T28" fmla="*/ 529 w 583"/>
              <a:gd name="T29" fmla="*/ 53 h 556"/>
              <a:gd name="T30" fmla="*/ 575 w 583"/>
              <a:gd name="T31" fmla="*/ 79 h 556"/>
              <a:gd name="T32" fmla="*/ 185 w 583"/>
              <a:gd name="T33" fmla="*/ 105 h 556"/>
              <a:gd name="T34" fmla="*/ 371 w 583"/>
              <a:gd name="T35" fmla="*/ 53 h 556"/>
              <a:gd name="T36" fmla="*/ 185 w 583"/>
              <a:gd name="T37" fmla="*/ 0 h 556"/>
              <a:gd name="T38" fmla="*/ 133 w 583"/>
              <a:gd name="T39" fmla="*/ 158 h 556"/>
              <a:gd name="T40" fmla="*/ 185 w 583"/>
              <a:gd name="T41" fmla="*/ 105 h 556"/>
              <a:gd name="T42" fmla="*/ 106 w 583"/>
              <a:gd name="T43" fmla="*/ 211 h 556"/>
              <a:gd name="T44" fmla="*/ 212 w 583"/>
              <a:gd name="T45" fmla="*/ 317 h 556"/>
              <a:gd name="T46" fmla="*/ 344 w 583"/>
              <a:gd name="T47" fmla="*/ 211 h 556"/>
              <a:gd name="T48" fmla="*/ 238 w 583"/>
              <a:gd name="T49" fmla="*/ 317 h 556"/>
              <a:gd name="T50" fmla="*/ 344 w 583"/>
              <a:gd name="T51" fmla="*/ 211 h 556"/>
              <a:gd name="T52" fmla="*/ 476 w 583"/>
              <a:gd name="T53" fmla="*/ 317 h 556"/>
              <a:gd name="T54" fmla="*/ 371 w 583"/>
              <a:gd name="T55" fmla="*/ 211 h 556"/>
              <a:gd name="T56" fmla="*/ 106 w 583"/>
              <a:gd name="T57" fmla="*/ 449 h 556"/>
              <a:gd name="T58" fmla="*/ 212 w 583"/>
              <a:gd name="T59" fmla="*/ 343 h 556"/>
              <a:gd name="T60" fmla="*/ 106 w 583"/>
              <a:gd name="T61" fmla="*/ 449 h 556"/>
              <a:gd name="T62" fmla="*/ 344 w 583"/>
              <a:gd name="T63" fmla="*/ 449 h 556"/>
              <a:gd name="T64" fmla="*/ 238 w 583"/>
              <a:gd name="T65" fmla="*/ 343 h 5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83" h="556">
                <a:moveTo>
                  <a:pt x="582" y="105"/>
                </a:moveTo>
                <a:lnTo>
                  <a:pt x="582" y="502"/>
                </a:lnTo>
                <a:lnTo>
                  <a:pt x="582" y="502"/>
                </a:lnTo>
                <a:cubicBezTo>
                  <a:pt x="582" y="512"/>
                  <a:pt x="580" y="519"/>
                  <a:pt x="575" y="528"/>
                </a:cubicBezTo>
                <a:cubicBezTo>
                  <a:pt x="570" y="536"/>
                  <a:pt x="564" y="543"/>
                  <a:pt x="556" y="548"/>
                </a:cubicBezTo>
                <a:cubicBezTo>
                  <a:pt x="547" y="553"/>
                  <a:pt x="539" y="555"/>
                  <a:pt x="529" y="555"/>
                </a:cubicBezTo>
                <a:lnTo>
                  <a:pt x="53" y="555"/>
                </a:lnTo>
                <a:lnTo>
                  <a:pt x="53" y="555"/>
                </a:lnTo>
                <a:cubicBezTo>
                  <a:pt x="43" y="555"/>
                  <a:pt x="35" y="553"/>
                  <a:pt x="27" y="548"/>
                </a:cubicBezTo>
                <a:cubicBezTo>
                  <a:pt x="18" y="543"/>
                  <a:pt x="11" y="536"/>
                  <a:pt x="7" y="528"/>
                </a:cubicBezTo>
                <a:cubicBezTo>
                  <a:pt x="2" y="519"/>
                  <a:pt x="0" y="512"/>
                  <a:pt x="0" y="502"/>
                </a:cubicBezTo>
                <a:lnTo>
                  <a:pt x="0" y="105"/>
                </a:lnTo>
                <a:lnTo>
                  <a:pt x="0" y="105"/>
                </a:lnTo>
                <a:cubicBezTo>
                  <a:pt x="0" y="96"/>
                  <a:pt x="2" y="87"/>
                  <a:pt x="7" y="79"/>
                </a:cubicBezTo>
                <a:cubicBezTo>
                  <a:pt x="11" y="71"/>
                  <a:pt x="18" y="64"/>
                  <a:pt x="27" y="60"/>
                </a:cubicBezTo>
                <a:cubicBezTo>
                  <a:pt x="35" y="55"/>
                  <a:pt x="43" y="53"/>
                  <a:pt x="53" y="53"/>
                </a:cubicBezTo>
                <a:lnTo>
                  <a:pt x="106" y="53"/>
                </a:lnTo>
                <a:lnTo>
                  <a:pt x="106" y="105"/>
                </a:lnTo>
                <a:lnTo>
                  <a:pt x="53" y="105"/>
                </a:lnTo>
                <a:lnTo>
                  <a:pt x="53" y="502"/>
                </a:lnTo>
                <a:lnTo>
                  <a:pt x="529" y="502"/>
                </a:lnTo>
                <a:lnTo>
                  <a:pt x="529" y="105"/>
                </a:lnTo>
                <a:lnTo>
                  <a:pt x="450" y="105"/>
                </a:lnTo>
                <a:lnTo>
                  <a:pt x="450" y="158"/>
                </a:lnTo>
                <a:lnTo>
                  <a:pt x="397" y="158"/>
                </a:lnTo>
                <a:lnTo>
                  <a:pt x="397" y="0"/>
                </a:lnTo>
                <a:lnTo>
                  <a:pt x="450" y="0"/>
                </a:lnTo>
                <a:lnTo>
                  <a:pt x="450" y="53"/>
                </a:lnTo>
                <a:lnTo>
                  <a:pt x="529" y="53"/>
                </a:lnTo>
                <a:lnTo>
                  <a:pt x="529" y="53"/>
                </a:lnTo>
                <a:cubicBezTo>
                  <a:pt x="539" y="53"/>
                  <a:pt x="547" y="55"/>
                  <a:pt x="556" y="60"/>
                </a:cubicBezTo>
                <a:cubicBezTo>
                  <a:pt x="564" y="64"/>
                  <a:pt x="570" y="71"/>
                  <a:pt x="575" y="79"/>
                </a:cubicBezTo>
                <a:cubicBezTo>
                  <a:pt x="580" y="87"/>
                  <a:pt x="582" y="96"/>
                  <a:pt x="582" y="105"/>
                </a:cubicBezTo>
                <a:close/>
                <a:moveTo>
                  <a:pt x="185" y="105"/>
                </a:moveTo>
                <a:lnTo>
                  <a:pt x="371" y="105"/>
                </a:lnTo>
                <a:lnTo>
                  <a:pt x="371" y="53"/>
                </a:lnTo>
                <a:lnTo>
                  <a:pt x="185" y="53"/>
                </a:lnTo>
                <a:lnTo>
                  <a:pt x="185" y="0"/>
                </a:lnTo>
                <a:lnTo>
                  <a:pt x="133" y="0"/>
                </a:lnTo>
                <a:lnTo>
                  <a:pt x="133" y="158"/>
                </a:lnTo>
                <a:lnTo>
                  <a:pt x="185" y="158"/>
                </a:lnTo>
                <a:lnTo>
                  <a:pt x="185" y="105"/>
                </a:lnTo>
                <a:close/>
                <a:moveTo>
                  <a:pt x="212" y="211"/>
                </a:moveTo>
                <a:lnTo>
                  <a:pt x="106" y="211"/>
                </a:lnTo>
                <a:lnTo>
                  <a:pt x="106" y="317"/>
                </a:lnTo>
                <a:lnTo>
                  <a:pt x="212" y="317"/>
                </a:lnTo>
                <a:lnTo>
                  <a:pt x="212" y="211"/>
                </a:lnTo>
                <a:close/>
                <a:moveTo>
                  <a:pt x="344" y="211"/>
                </a:moveTo>
                <a:lnTo>
                  <a:pt x="238" y="211"/>
                </a:lnTo>
                <a:lnTo>
                  <a:pt x="238" y="317"/>
                </a:lnTo>
                <a:lnTo>
                  <a:pt x="344" y="317"/>
                </a:lnTo>
                <a:lnTo>
                  <a:pt x="344" y="211"/>
                </a:lnTo>
                <a:close/>
                <a:moveTo>
                  <a:pt x="371" y="317"/>
                </a:moveTo>
                <a:lnTo>
                  <a:pt x="476" y="317"/>
                </a:lnTo>
                <a:lnTo>
                  <a:pt x="476" y="211"/>
                </a:lnTo>
                <a:lnTo>
                  <a:pt x="371" y="211"/>
                </a:lnTo>
                <a:lnTo>
                  <a:pt x="371" y="317"/>
                </a:lnTo>
                <a:close/>
                <a:moveTo>
                  <a:pt x="106" y="449"/>
                </a:moveTo>
                <a:lnTo>
                  <a:pt x="212" y="449"/>
                </a:lnTo>
                <a:lnTo>
                  <a:pt x="212" y="343"/>
                </a:lnTo>
                <a:lnTo>
                  <a:pt x="106" y="343"/>
                </a:lnTo>
                <a:lnTo>
                  <a:pt x="106" y="449"/>
                </a:lnTo>
                <a:close/>
                <a:moveTo>
                  <a:pt x="238" y="449"/>
                </a:moveTo>
                <a:lnTo>
                  <a:pt x="344" y="449"/>
                </a:lnTo>
                <a:lnTo>
                  <a:pt x="344" y="343"/>
                </a:lnTo>
                <a:lnTo>
                  <a:pt x="238" y="343"/>
                </a:lnTo>
                <a:lnTo>
                  <a:pt x="238" y="44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2" name="Freeform 6">
            <a:extLst>
              <a:ext uri="{FF2B5EF4-FFF2-40B4-BE49-F238E27FC236}">
                <a16:creationId xmlns="" xmlns:a16="http://schemas.microsoft.com/office/drawing/2014/main" id="{FEA34807-3C5F-A54B-8AF5-AFA0500C1A5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46219" y="3531835"/>
            <a:ext cx="190500" cy="219075"/>
          </a:xfrm>
          <a:custGeom>
            <a:avLst/>
            <a:gdLst>
              <a:gd name="T0" fmla="*/ 376 w 530"/>
              <a:gd name="T1" fmla="*/ 219 h 608"/>
              <a:gd name="T2" fmla="*/ 413 w 530"/>
              <a:gd name="T3" fmla="*/ 257 h 608"/>
              <a:gd name="T4" fmla="*/ 265 w 530"/>
              <a:gd name="T5" fmla="*/ 407 h 608"/>
              <a:gd name="T6" fmla="*/ 226 w 530"/>
              <a:gd name="T7" fmla="*/ 370 h 608"/>
              <a:gd name="T8" fmla="*/ 189 w 530"/>
              <a:gd name="T9" fmla="*/ 333 h 608"/>
              <a:gd name="T10" fmla="*/ 226 w 530"/>
              <a:gd name="T11" fmla="*/ 295 h 608"/>
              <a:gd name="T12" fmla="*/ 265 w 530"/>
              <a:gd name="T13" fmla="*/ 332 h 608"/>
              <a:gd name="T14" fmla="*/ 376 w 530"/>
              <a:gd name="T15" fmla="*/ 219 h 608"/>
              <a:gd name="T16" fmla="*/ 370 w 530"/>
              <a:gd name="T17" fmla="*/ 344 h 608"/>
              <a:gd name="T18" fmla="*/ 370 w 530"/>
              <a:gd name="T19" fmla="*/ 344 h 608"/>
              <a:gd name="T20" fmla="*/ 370 w 530"/>
              <a:gd name="T21" fmla="*/ 344 h 608"/>
              <a:gd name="T22" fmla="*/ 356 w 530"/>
              <a:gd name="T23" fmla="*/ 397 h 608"/>
              <a:gd name="T24" fmla="*/ 317 w 530"/>
              <a:gd name="T25" fmla="*/ 436 h 608"/>
              <a:gd name="T26" fmla="*/ 265 w 530"/>
              <a:gd name="T27" fmla="*/ 450 h 608"/>
              <a:gd name="T28" fmla="*/ 212 w 530"/>
              <a:gd name="T29" fmla="*/ 436 h 608"/>
              <a:gd name="T30" fmla="*/ 173 w 530"/>
              <a:gd name="T31" fmla="*/ 397 h 608"/>
              <a:gd name="T32" fmla="*/ 159 w 530"/>
              <a:gd name="T33" fmla="*/ 344 h 608"/>
              <a:gd name="T34" fmla="*/ 173 w 530"/>
              <a:gd name="T35" fmla="*/ 291 h 608"/>
              <a:gd name="T36" fmla="*/ 212 w 530"/>
              <a:gd name="T37" fmla="*/ 253 h 608"/>
              <a:gd name="T38" fmla="*/ 265 w 530"/>
              <a:gd name="T39" fmla="*/ 238 h 608"/>
              <a:gd name="T40" fmla="*/ 310 w 530"/>
              <a:gd name="T41" fmla="*/ 248 h 608"/>
              <a:gd name="T42" fmla="*/ 349 w 530"/>
              <a:gd name="T43" fmla="*/ 210 h 608"/>
              <a:gd name="T44" fmla="*/ 349 w 530"/>
              <a:gd name="T45" fmla="*/ 210 h 608"/>
              <a:gd name="T46" fmla="*/ 344 w 530"/>
              <a:gd name="T47" fmla="*/ 207 h 608"/>
              <a:gd name="T48" fmla="*/ 265 w 530"/>
              <a:gd name="T49" fmla="*/ 185 h 608"/>
              <a:gd name="T50" fmla="*/ 185 w 530"/>
              <a:gd name="T51" fmla="*/ 207 h 608"/>
              <a:gd name="T52" fmla="*/ 127 w 530"/>
              <a:gd name="T53" fmla="*/ 265 h 608"/>
              <a:gd name="T54" fmla="*/ 106 w 530"/>
              <a:gd name="T55" fmla="*/ 344 h 608"/>
              <a:gd name="T56" fmla="*/ 127 w 530"/>
              <a:gd name="T57" fmla="*/ 423 h 608"/>
              <a:gd name="T58" fmla="*/ 185 w 530"/>
              <a:gd name="T59" fmla="*/ 481 h 608"/>
              <a:gd name="T60" fmla="*/ 265 w 530"/>
              <a:gd name="T61" fmla="*/ 503 h 608"/>
              <a:gd name="T62" fmla="*/ 344 w 530"/>
              <a:gd name="T63" fmla="*/ 481 h 608"/>
              <a:gd name="T64" fmla="*/ 402 w 530"/>
              <a:gd name="T65" fmla="*/ 423 h 608"/>
              <a:gd name="T66" fmla="*/ 423 w 530"/>
              <a:gd name="T67" fmla="*/ 344 h 608"/>
              <a:gd name="T68" fmla="*/ 423 w 530"/>
              <a:gd name="T69" fmla="*/ 344 h 608"/>
              <a:gd name="T70" fmla="*/ 423 w 530"/>
              <a:gd name="T71" fmla="*/ 344 h 608"/>
              <a:gd name="T72" fmla="*/ 415 w 530"/>
              <a:gd name="T73" fmla="*/ 293 h 608"/>
              <a:gd name="T74" fmla="*/ 370 w 530"/>
              <a:gd name="T75" fmla="*/ 338 h 608"/>
              <a:gd name="T76" fmla="*/ 370 w 530"/>
              <a:gd name="T77" fmla="*/ 344 h 608"/>
              <a:gd name="T78" fmla="*/ 529 w 530"/>
              <a:gd name="T79" fmla="*/ 53 h 608"/>
              <a:gd name="T80" fmla="*/ 529 w 530"/>
              <a:gd name="T81" fmla="*/ 607 h 608"/>
              <a:gd name="T82" fmla="*/ 0 w 530"/>
              <a:gd name="T83" fmla="*/ 607 h 608"/>
              <a:gd name="T84" fmla="*/ 0 w 530"/>
              <a:gd name="T85" fmla="*/ 53 h 608"/>
              <a:gd name="T86" fmla="*/ 132 w 530"/>
              <a:gd name="T87" fmla="*/ 53 h 608"/>
              <a:gd name="T88" fmla="*/ 132 w 530"/>
              <a:gd name="T89" fmla="*/ 0 h 608"/>
              <a:gd name="T90" fmla="*/ 397 w 530"/>
              <a:gd name="T91" fmla="*/ 0 h 608"/>
              <a:gd name="T92" fmla="*/ 397 w 530"/>
              <a:gd name="T93" fmla="*/ 53 h 608"/>
              <a:gd name="T94" fmla="*/ 529 w 530"/>
              <a:gd name="T95" fmla="*/ 53 h 608"/>
              <a:gd name="T96" fmla="*/ 185 w 530"/>
              <a:gd name="T97" fmla="*/ 80 h 608"/>
              <a:gd name="T98" fmla="*/ 344 w 530"/>
              <a:gd name="T99" fmla="*/ 80 h 608"/>
              <a:gd name="T100" fmla="*/ 344 w 530"/>
              <a:gd name="T101" fmla="*/ 53 h 608"/>
              <a:gd name="T102" fmla="*/ 185 w 530"/>
              <a:gd name="T103" fmla="*/ 53 h 608"/>
              <a:gd name="T104" fmla="*/ 185 w 530"/>
              <a:gd name="T105" fmla="*/ 80 h 608"/>
              <a:gd name="T106" fmla="*/ 476 w 530"/>
              <a:gd name="T107" fmla="*/ 106 h 608"/>
              <a:gd name="T108" fmla="*/ 397 w 530"/>
              <a:gd name="T109" fmla="*/ 106 h 608"/>
              <a:gd name="T110" fmla="*/ 397 w 530"/>
              <a:gd name="T111" fmla="*/ 132 h 608"/>
              <a:gd name="T112" fmla="*/ 132 w 530"/>
              <a:gd name="T113" fmla="*/ 132 h 608"/>
              <a:gd name="T114" fmla="*/ 132 w 530"/>
              <a:gd name="T115" fmla="*/ 106 h 608"/>
              <a:gd name="T116" fmla="*/ 53 w 530"/>
              <a:gd name="T117" fmla="*/ 106 h 608"/>
              <a:gd name="T118" fmla="*/ 53 w 530"/>
              <a:gd name="T119" fmla="*/ 555 h 608"/>
              <a:gd name="T120" fmla="*/ 476 w 530"/>
              <a:gd name="T121" fmla="*/ 555 h 608"/>
              <a:gd name="T122" fmla="*/ 476 w 530"/>
              <a:gd name="T123" fmla="*/ 106 h 6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0" h="608">
                <a:moveTo>
                  <a:pt x="376" y="219"/>
                </a:moveTo>
                <a:lnTo>
                  <a:pt x="413" y="257"/>
                </a:lnTo>
                <a:lnTo>
                  <a:pt x="265" y="407"/>
                </a:lnTo>
                <a:lnTo>
                  <a:pt x="226" y="370"/>
                </a:lnTo>
                <a:lnTo>
                  <a:pt x="189" y="333"/>
                </a:lnTo>
                <a:lnTo>
                  <a:pt x="226" y="295"/>
                </a:lnTo>
                <a:lnTo>
                  <a:pt x="265" y="332"/>
                </a:lnTo>
                <a:lnTo>
                  <a:pt x="376" y="219"/>
                </a:lnTo>
                <a:close/>
                <a:moveTo>
                  <a:pt x="370" y="344"/>
                </a:moveTo>
                <a:lnTo>
                  <a:pt x="370" y="344"/>
                </a:lnTo>
                <a:lnTo>
                  <a:pt x="370" y="344"/>
                </a:lnTo>
                <a:cubicBezTo>
                  <a:pt x="370" y="364"/>
                  <a:pt x="366" y="380"/>
                  <a:pt x="356" y="397"/>
                </a:cubicBezTo>
                <a:cubicBezTo>
                  <a:pt x="346" y="414"/>
                  <a:pt x="333" y="426"/>
                  <a:pt x="317" y="436"/>
                </a:cubicBezTo>
                <a:cubicBezTo>
                  <a:pt x="300" y="445"/>
                  <a:pt x="284" y="450"/>
                  <a:pt x="265" y="450"/>
                </a:cubicBezTo>
                <a:cubicBezTo>
                  <a:pt x="245" y="450"/>
                  <a:pt x="229" y="445"/>
                  <a:pt x="212" y="436"/>
                </a:cubicBezTo>
                <a:cubicBezTo>
                  <a:pt x="195" y="426"/>
                  <a:pt x="183" y="414"/>
                  <a:pt x="173" y="397"/>
                </a:cubicBezTo>
                <a:cubicBezTo>
                  <a:pt x="163" y="380"/>
                  <a:pt x="159" y="363"/>
                  <a:pt x="159" y="344"/>
                </a:cubicBezTo>
                <a:cubicBezTo>
                  <a:pt x="159" y="324"/>
                  <a:pt x="163" y="308"/>
                  <a:pt x="173" y="291"/>
                </a:cubicBezTo>
                <a:cubicBezTo>
                  <a:pt x="183" y="274"/>
                  <a:pt x="195" y="262"/>
                  <a:pt x="212" y="253"/>
                </a:cubicBezTo>
                <a:cubicBezTo>
                  <a:pt x="229" y="243"/>
                  <a:pt x="245" y="238"/>
                  <a:pt x="265" y="238"/>
                </a:cubicBezTo>
                <a:cubicBezTo>
                  <a:pt x="281" y="238"/>
                  <a:pt x="295" y="242"/>
                  <a:pt x="310" y="248"/>
                </a:cubicBezTo>
                <a:lnTo>
                  <a:pt x="349" y="210"/>
                </a:lnTo>
                <a:lnTo>
                  <a:pt x="349" y="210"/>
                </a:lnTo>
                <a:cubicBezTo>
                  <a:pt x="347" y="209"/>
                  <a:pt x="346" y="208"/>
                  <a:pt x="344" y="207"/>
                </a:cubicBezTo>
                <a:cubicBezTo>
                  <a:pt x="319" y="192"/>
                  <a:pt x="294" y="185"/>
                  <a:pt x="265" y="185"/>
                </a:cubicBezTo>
                <a:cubicBezTo>
                  <a:pt x="235" y="185"/>
                  <a:pt x="210" y="192"/>
                  <a:pt x="185" y="207"/>
                </a:cubicBezTo>
                <a:cubicBezTo>
                  <a:pt x="160" y="221"/>
                  <a:pt x="142" y="239"/>
                  <a:pt x="127" y="265"/>
                </a:cubicBezTo>
                <a:cubicBezTo>
                  <a:pt x="112" y="290"/>
                  <a:pt x="106" y="315"/>
                  <a:pt x="106" y="344"/>
                </a:cubicBezTo>
                <a:cubicBezTo>
                  <a:pt x="106" y="373"/>
                  <a:pt x="112" y="397"/>
                  <a:pt x="127" y="423"/>
                </a:cubicBezTo>
                <a:cubicBezTo>
                  <a:pt x="142" y="448"/>
                  <a:pt x="160" y="466"/>
                  <a:pt x="185" y="481"/>
                </a:cubicBezTo>
                <a:cubicBezTo>
                  <a:pt x="210" y="495"/>
                  <a:pt x="235" y="503"/>
                  <a:pt x="265" y="503"/>
                </a:cubicBezTo>
                <a:cubicBezTo>
                  <a:pt x="294" y="503"/>
                  <a:pt x="319" y="495"/>
                  <a:pt x="344" y="481"/>
                </a:cubicBezTo>
                <a:cubicBezTo>
                  <a:pt x="369" y="466"/>
                  <a:pt x="387" y="448"/>
                  <a:pt x="402" y="423"/>
                </a:cubicBezTo>
                <a:cubicBezTo>
                  <a:pt x="417" y="397"/>
                  <a:pt x="423" y="373"/>
                  <a:pt x="423" y="344"/>
                </a:cubicBezTo>
                <a:lnTo>
                  <a:pt x="423" y="344"/>
                </a:lnTo>
                <a:lnTo>
                  <a:pt x="423" y="344"/>
                </a:lnTo>
                <a:cubicBezTo>
                  <a:pt x="423" y="326"/>
                  <a:pt x="421" y="310"/>
                  <a:pt x="415" y="293"/>
                </a:cubicBezTo>
                <a:lnTo>
                  <a:pt x="370" y="338"/>
                </a:lnTo>
                <a:cubicBezTo>
                  <a:pt x="370" y="340"/>
                  <a:pt x="370" y="342"/>
                  <a:pt x="370" y="344"/>
                </a:cubicBezTo>
                <a:close/>
                <a:moveTo>
                  <a:pt x="529" y="53"/>
                </a:moveTo>
                <a:lnTo>
                  <a:pt x="529" y="607"/>
                </a:lnTo>
                <a:lnTo>
                  <a:pt x="0" y="607"/>
                </a:lnTo>
                <a:lnTo>
                  <a:pt x="0" y="53"/>
                </a:lnTo>
                <a:lnTo>
                  <a:pt x="132" y="53"/>
                </a:lnTo>
                <a:lnTo>
                  <a:pt x="132" y="0"/>
                </a:lnTo>
                <a:lnTo>
                  <a:pt x="397" y="0"/>
                </a:lnTo>
                <a:lnTo>
                  <a:pt x="397" y="53"/>
                </a:lnTo>
                <a:lnTo>
                  <a:pt x="529" y="53"/>
                </a:lnTo>
                <a:close/>
                <a:moveTo>
                  <a:pt x="185" y="80"/>
                </a:moveTo>
                <a:lnTo>
                  <a:pt x="344" y="80"/>
                </a:lnTo>
                <a:lnTo>
                  <a:pt x="344" y="53"/>
                </a:lnTo>
                <a:lnTo>
                  <a:pt x="185" y="53"/>
                </a:lnTo>
                <a:lnTo>
                  <a:pt x="185" y="80"/>
                </a:lnTo>
                <a:close/>
                <a:moveTo>
                  <a:pt x="476" y="106"/>
                </a:moveTo>
                <a:lnTo>
                  <a:pt x="397" y="106"/>
                </a:lnTo>
                <a:lnTo>
                  <a:pt x="397" y="132"/>
                </a:lnTo>
                <a:lnTo>
                  <a:pt x="132" y="132"/>
                </a:lnTo>
                <a:lnTo>
                  <a:pt x="132" y="106"/>
                </a:lnTo>
                <a:lnTo>
                  <a:pt x="53" y="106"/>
                </a:lnTo>
                <a:lnTo>
                  <a:pt x="53" y="555"/>
                </a:lnTo>
                <a:lnTo>
                  <a:pt x="476" y="555"/>
                </a:lnTo>
                <a:lnTo>
                  <a:pt x="476" y="10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3" name="Freeform 9">
            <a:extLst>
              <a:ext uri="{FF2B5EF4-FFF2-40B4-BE49-F238E27FC236}">
                <a16:creationId xmlns="" xmlns:a16="http://schemas.microsoft.com/office/drawing/2014/main" id="{B860F40B-320F-4C49-8692-0E3AA4E03E7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620907" y="3541360"/>
            <a:ext cx="209551" cy="200025"/>
          </a:xfrm>
          <a:custGeom>
            <a:avLst/>
            <a:gdLst>
              <a:gd name="T0" fmla="*/ 0 w 583"/>
              <a:gd name="T1" fmla="*/ 555 h 556"/>
              <a:gd name="T2" fmla="*/ 159 w 583"/>
              <a:gd name="T3" fmla="*/ 555 h 556"/>
              <a:gd name="T4" fmla="*/ 159 w 583"/>
              <a:gd name="T5" fmla="*/ 370 h 556"/>
              <a:gd name="T6" fmla="*/ 0 w 583"/>
              <a:gd name="T7" fmla="*/ 370 h 556"/>
              <a:gd name="T8" fmla="*/ 0 w 583"/>
              <a:gd name="T9" fmla="*/ 555 h 556"/>
              <a:gd name="T10" fmla="*/ 53 w 583"/>
              <a:gd name="T11" fmla="*/ 423 h 556"/>
              <a:gd name="T12" fmla="*/ 106 w 583"/>
              <a:gd name="T13" fmla="*/ 423 h 556"/>
              <a:gd name="T14" fmla="*/ 106 w 583"/>
              <a:gd name="T15" fmla="*/ 502 h 556"/>
              <a:gd name="T16" fmla="*/ 53 w 583"/>
              <a:gd name="T17" fmla="*/ 502 h 556"/>
              <a:gd name="T18" fmla="*/ 53 w 583"/>
              <a:gd name="T19" fmla="*/ 423 h 556"/>
              <a:gd name="T20" fmla="*/ 212 w 583"/>
              <a:gd name="T21" fmla="*/ 555 h 556"/>
              <a:gd name="T22" fmla="*/ 370 w 583"/>
              <a:gd name="T23" fmla="*/ 555 h 556"/>
              <a:gd name="T24" fmla="*/ 370 w 583"/>
              <a:gd name="T25" fmla="*/ 317 h 556"/>
              <a:gd name="T26" fmla="*/ 212 w 583"/>
              <a:gd name="T27" fmla="*/ 317 h 556"/>
              <a:gd name="T28" fmla="*/ 212 w 583"/>
              <a:gd name="T29" fmla="*/ 555 h 556"/>
              <a:gd name="T30" fmla="*/ 265 w 583"/>
              <a:gd name="T31" fmla="*/ 370 h 556"/>
              <a:gd name="T32" fmla="*/ 317 w 583"/>
              <a:gd name="T33" fmla="*/ 370 h 556"/>
              <a:gd name="T34" fmla="*/ 317 w 583"/>
              <a:gd name="T35" fmla="*/ 502 h 556"/>
              <a:gd name="T36" fmla="*/ 265 w 583"/>
              <a:gd name="T37" fmla="*/ 502 h 556"/>
              <a:gd name="T38" fmla="*/ 265 w 583"/>
              <a:gd name="T39" fmla="*/ 370 h 556"/>
              <a:gd name="T40" fmla="*/ 423 w 583"/>
              <a:gd name="T41" fmla="*/ 211 h 556"/>
              <a:gd name="T42" fmla="*/ 423 w 583"/>
              <a:gd name="T43" fmla="*/ 555 h 556"/>
              <a:gd name="T44" fmla="*/ 582 w 583"/>
              <a:gd name="T45" fmla="*/ 555 h 556"/>
              <a:gd name="T46" fmla="*/ 582 w 583"/>
              <a:gd name="T47" fmla="*/ 211 h 556"/>
              <a:gd name="T48" fmla="*/ 423 w 583"/>
              <a:gd name="T49" fmla="*/ 211 h 556"/>
              <a:gd name="T50" fmla="*/ 529 w 583"/>
              <a:gd name="T51" fmla="*/ 502 h 556"/>
              <a:gd name="T52" fmla="*/ 476 w 583"/>
              <a:gd name="T53" fmla="*/ 502 h 556"/>
              <a:gd name="T54" fmla="*/ 476 w 583"/>
              <a:gd name="T55" fmla="*/ 264 h 556"/>
              <a:gd name="T56" fmla="*/ 529 w 583"/>
              <a:gd name="T57" fmla="*/ 264 h 556"/>
              <a:gd name="T58" fmla="*/ 529 w 583"/>
              <a:gd name="T59" fmla="*/ 502 h 556"/>
              <a:gd name="T60" fmla="*/ 27 w 583"/>
              <a:gd name="T61" fmla="*/ 290 h 556"/>
              <a:gd name="T62" fmla="*/ 27 w 583"/>
              <a:gd name="T63" fmla="*/ 238 h 556"/>
              <a:gd name="T64" fmla="*/ 27 w 583"/>
              <a:gd name="T65" fmla="*/ 238 h 556"/>
              <a:gd name="T66" fmla="*/ 44 w 583"/>
              <a:gd name="T67" fmla="*/ 238 h 556"/>
              <a:gd name="T68" fmla="*/ 335 w 583"/>
              <a:gd name="T69" fmla="*/ 160 h 556"/>
              <a:gd name="T70" fmla="*/ 470 w 583"/>
              <a:gd name="T71" fmla="*/ 53 h 556"/>
              <a:gd name="T72" fmla="*/ 423 w 583"/>
              <a:gd name="T73" fmla="*/ 53 h 556"/>
              <a:gd name="T74" fmla="*/ 423 w 583"/>
              <a:gd name="T75" fmla="*/ 0 h 556"/>
              <a:gd name="T76" fmla="*/ 556 w 583"/>
              <a:gd name="T77" fmla="*/ 0 h 556"/>
              <a:gd name="T78" fmla="*/ 556 w 583"/>
              <a:gd name="T79" fmla="*/ 132 h 556"/>
              <a:gd name="T80" fmla="*/ 503 w 583"/>
              <a:gd name="T81" fmla="*/ 132 h 556"/>
              <a:gd name="T82" fmla="*/ 503 w 583"/>
              <a:gd name="T83" fmla="*/ 95 h 556"/>
              <a:gd name="T84" fmla="*/ 503 w 583"/>
              <a:gd name="T85" fmla="*/ 95 h 556"/>
              <a:gd name="T86" fmla="*/ 361 w 583"/>
              <a:gd name="T87" fmla="*/ 206 h 556"/>
              <a:gd name="T88" fmla="*/ 46 w 583"/>
              <a:gd name="T89" fmla="*/ 291 h 556"/>
              <a:gd name="T90" fmla="*/ 27 w 583"/>
              <a:gd name="T91" fmla="*/ 290 h 5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83" h="556">
                <a:moveTo>
                  <a:pt x="0" y="555"/>
                </a:moveTo>
                <a:lnTo>
                  <a:pt x="159" y="555"/>
                </a:lnTo>
                <a:lnTo>
                  <a:pt x="159" y="370"/>
                </a:lnTo>
                <a:lnTo>
                  <a:pt x="0" y="370"/>
                </a:lnTo>
                <a:lnTo>
                  <a:pt x="0" y="555"/>
                </a:lnTo>
                <a:close/>
                <a:moveTo>
                  <a:pt x="53" y="423"/>
                </a:moveTo>
                <a:lnTo>
                  <a:pt x="106" y="423"/>
                </a:lnTo>
                <a:lnTo>
                  <a:pt x="106" y="502"/>
                </a:lnTo>
                <a:lnTo>
                  <a:pt x="53" y="502"/>
                </a:lnTo>
                <a:lnTo>
                  <a:pt x="53" y="423"/>
                </a:lnTo>
                <a:close/>
                <a:moveTo>
                  <a:pt x="212" y="555"/>
                </a:moveTo>
                <a:lnTo>
                  <a:pt x="370" y="555"/>
                </a:lnTo>
                <a:lnTo>
                  <a:pt x="370" y="317"/>
                </a:lnTo>
                <a:lnTo>
                  <a:pt x="212" y="317"/>
                </a:lnTo>
                <a:lnTo>
                  <a:pt x="212" y="555"/>
                </a:lnTo>
                <a:close/>
                <a:moveTo>
                  <a:pt x="265" y="370"/>
                </a:moveTo>
                <a:lnTo>
                  <a:pt x="317" y="370"/>
                </a:lnTo>
                <a:lnTo>
                  <a:pt x="317" y="502"/>
                </a:lnTo>
                <a:lnTo>
                  <a:pt x="265" y="502"/>
                </a:lnTo>
                <a:lnTo>
                  <a:pt x="265" y="370"/>
                </a:lnTo>
                <a:close/>
                <a:moveTo>
                  <a:pt x="423" y="211"/>
                </a:moveTo>
                <a:lnTo>
                  <a:pt x="423" y="555"/>
                </a:lnTo>
                <a:lnTo>
                  <a:pt x="582" y="555"/>
                </a:lnTo>
                <a:lnTo>
                  <a:pt x="582" y="211"/>
                </a:lnTo>
                <a:lnTo>
                  <a:pt x="423" y="211"/>
                </a:lnTo>
                <a:close/>
                <a:moveTo>
                  <a:pt x="529" y="502"/>
                </a:moveTo>
                <a:lnTo>
                  <a:pt x="476" y="502"/>
                </a:lnTo>
                <a:lnTo>
                  <a:pt x="476" y="264"/>
                </a:lnTo>
                <a:lnTo>
                  <a:pt x="529" y="264"/>
                </a:lnTo>
                <a:lnTo>
                  <a:pt x="529" y="502"/>
                </a:lnTo>
                <a:close/>
                <a:moveTo>
                  <a:pt x="27" y="290"/>
                </a:moveTo>
                <a:lnTo>
                  <a:pt x="27" y="238"/>
                </a:lnTo>
                <a:lnTo>
                  <a:pt x="27" y="238"/>
                </a:lnTo>
                <a:cubicBezTo>
                  <a:pt x="33" y="238"/>
                  <a:pt x="38" y="238"/>
                  <a:pt x="44" y="238"/>
                </a:cubicBezTo>
                <a:cubicBezTo>
                  <a:pt x="151" y="238"/>
                  <a:pt x="243" y="213"/>
                  <a:pt x="335" y="160"/>
                </a:cubicBezTo>
                <a:cubicBezTo>
                  <a:pt x="388" y="130"/>
                  <a:pt x="428" y="97"/>
                  <a:pt x="470" y="53"/>
                </a:cubicBezTo>
                <a:lnTo>
                  <a:pt x="423" y="53"/>
                </a:lnTo>
                <a:lnTo>
                  <a:pt x="423" y="0"/>
                </a:lnTo>
                <a:lnTo>
                  <a:pt x="556" y="0"/>
                </a:lnTo>
                <a:lnTo>
                  <a:pt x="556" y="132"/>
                </a:lnTo>
                <a:lnTo>
                  <a:pt x="503" y="132"/>
                </a:lnTo>
                <a:lnTo>
                  <a:pt x="503" y="95"/>
                </a:lnTo>
                <a:lnTo>
                  <a:pt x="503" y="95"/>
                </a:lnTo>
                <a:cubicBezTo>
                  <a:pt x="459" y="141"/>
                  <a:pt x="416" y="175"/>
                  <a:pt x="361" y="206"/>
                </a:cubicBezTo>
                <a:cubicBezTo>
                  <a:pt x="260" y="263"/>
                  <a:pt x="162" y="291"/>
                  <a:pt x="46" y="291"/>
                </a:cubicBezTo>
                <a:cubicBezTo>
                  <a:pt x="39" y="291"/>
                  <a:pt x="33" y="291"/>
                  <a:pt x="27" y="29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4" name="Freeform 10">
            <a:extLst>
              <a:ext uri="{FF2B5EF4-FFF2-40B4-BE49-F238E27FC236}">
                <a16:creationId xmlns="" xmlns:a16="http://schemas.microsoft.com/office/drawing/2014/main" id="{02B7D0B2-372C-8646-9EEE-A810C4BCA83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67776" y="3541360"/>
            <a:ext cx="173037" cy="200025"/>
          </a:xfrm>
          <a:custGeom>
            <a:avLst/>
            <a:gdLst>
              <a:gd name="T0" fmla="*/ 480 w 481"/>
              <a:gd name="T1" fmla="*/ 0 h 556"/>
              <a:gd name="T2" fmla="*/ 480 w 481"/>
              <a:gd name="T3" fmla="*/ 132 h 556"/>
              <a:gd name="T4" fmla="*/ 427 w 481"/>
              <a:gd name="T5" fmla="*/ 132 h 556"/>
              <a:gd name="T6" fmla="*/ 427 w 481"/>
              <a:gd name="T7" fmla="*/ 88 h 556"/>
              <a:gd name="T8" fmla="*/ 7 w 481"/>
              <a:gd name="T9" fmla="*/ 317 h 556"/>
              <a:gd name="T10" fmla="*/ 0 w 481"/>
              <a:gd name="T11" fmla="*/ 264 h 556"/>
              <a:gd name="T12" fmla="*/ 388 w 481"/>
              <a:gd name="T13" fmla="*/ 52 h 556"/>
              <a:gd name="T14" fmla="*/ 347 w 481"/>
              <a:gd name="T15" fmla="*/ 52 h 556"/>
              <a:gd name="T16" fmla="*/ 347 w 481"/>
              <a:gd name="T17" fmla="*/ 0 h 556"/>
              <a:gd name="T18" fmla="*/ 480 w 481"/>
              <a:gd name="T19" fmla="*/ 0 h 556"/>
              <a:gd name="T20" fmla="*/ 3 w 481"/>
              <a:gd name="T21" fmla="*/ 555 h 556"/>
              <a:gd name="T22" fmla="*/ 56 w 481"/>
              <a:gd name="T23" fmla="*/ 555 h 556"/>
              <a:gd name="T24" fmla="*/ 56 w 481"/>
              <a:gd name="T25" fmla="*/ 370 h 556"/>
              <a:gd name="T26" fmla="*/ 3 w 481"/>
              <a:gd name="T27" fmla="*/ 370 h 556"/>
              <a:gd name="T28" fmla="*/ 3 w 481"/>
              <a:gd name="T29" fmla="*/ 555 h 556"/>
              <a:gd name="T30" fmla="*/ 109 w 481"/>
              <a:gd name="T31" fmla="*/ 555 h 556"/>
              <a:gd name="T32" fmla="*/ 162 w 481"/>
              <a:gd name="T33" fmla="*/ 555 h 556"/>
              <a:gd name="T34" fmla="*/ 162 w 481"/>
              <a:gd name="T35" fmla="*/ 343 h 556"/>
              <a:gd name="T36" fmla="*/ 109 w 481"/>
              <a:gd name="T37" fmla="*/ 343 h 556"/>
              <a:gd name="T38" fmla="*/ 109 w 481"/>
              <a:gd name="T39" fmla="*/ 555 h 556"/>
              <a:gd name="T40" fmla="*/ 215 w 481"/>
              <a:gd name="T41" fmla="*/ 555 h 556"/>
              <a:gd name="T42" fmla="*/ 268 w 481"/>
              <a:gd name="T43" fmla="*/ 555 h 556"/>
              <a:gd name="T44" fmla="*/ 268 w 481"/>
              <a:gd name="T45" fmla="*/ 290 h 556"/>
              <a:gd name="T46" fmla="*/ 215 w 481"/>
              <a:gd name="T47" fmla="*/ 290 h 556"/>
              <a:gd name="T48" fmla="*/ 215 w 481"/>
              <a:gd name="T49" fmla="*/ 555 h 556"/>
              <a:gd name="T50" fmla="*/ 321 w 481"/>
              <a:gd name="T51" fmla="*/ 555 h 556"/>
              <a:gd name="T52" fmla="*/ 374 w 481"/>
              <a:gd name="T53" fmla="*/ 555 h 556"/>
              <a:gd name="T54" fmla="*/ 374 w 481"/>
              <a:gd name="T55" fmla="*/ 238 h 556"/>
              <a:gd name="T56" fmla="*/ 321 w 481"/>
              <a:gd name="T57" fmla="*/ 238 h 556"/>
              <a:gd name="T58" fmla="*/ 321 w 481"/>
              <a:gd name="T59" fmla="*/ 555 h 556"/>
              <a:gd name="T60" fmla="*/ 427 w 481"/>
              <a:gd name="T61" fmla="*/ 555 h 556"/>
              <a:gd name="T62" fmla="*/ 480 w 481"/>
              <a:gd name="T63" fmla="*/ 555 h 556"/>
              <a:gd name="T64" fmla="*/ 480 w 481"/>
              <a:gd name="T65" fmla="*/ 185 h 556"/>
              <a:gd name="T66" fmla="*/ 427 w 481"/>
              <a:gd name="T67" fmla="*/ 185 h 556"/>
              <a:gd name="T68" fmla="*/ 427 w 481"/>
              <a:gd name="T69" fmla="*/ 555 h 5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81" h="556">
                <a:moveTo>
                  <a:pt x="480" y="0"/>
                </a:moveTo>
                <a:lnTo>
                  <a:pt x="480" y="132"/>
                </a:lnTo>
                <a:lnTo>
                  <a:pt x="427" y="132"/>
                </a:lnTo>
                <a:lnTo>
                  <a:pt x="427" y="88"/>
                </a:lnTo>
                <a:cubicBezTo>
                  <a:pt x="299" y="209"/>
                  <a:pt x="174" y="293"/>
                  <a:pt x="7" y="317"/>
                </a:cubicBezTo>
                <a:lnTo>
                  <a:pt x="0" y="264"/>
                </a:lnTo>
                <a:cubicBezTo>
                  <a:pt x="152" y="242"/>
                  <a:pt x="268" y="164"/>
                  <a:pt x="388" y="52"/>
                </a:cubicBezTo>
                <a:lnTo>
                  <a:pt x="347" y="52"/>
                </a:lnTo>
                <a:lnTo>
                  <a:pt x="347" y="0"/>
                </a:lnTo>
                <a:lnTo>
                  <a:pt x="480" y="0"/>
                </a:lnTo>
                <a:close/>
                <a:moveTo>
                  <a:pt x="3" y="555"/>
                </a:moveTo>
                <a:lnTo>
                  <a:pt x="56" y="555"/>
                </a:lnTo>
                <a:lnTo>
                  <a:pt x="56" y="370"/>
                </a:lnTo>
                <a:lnTo>
                  <a:pt x="3" y="370"/>
                </a:lnTo>
                <a:lnTo>
                  <a:pt x="3" y="555"/>
                </a:lnTo>
                <a:close/>
                <a:moveTo>
                  <a:pt x="109" y="555"/>
                </a:moveTo>
                <a:lnTo>
                  <a:pt x="162" y="555"/>
                </a:lnTo>
                <a:lnTo>
                  <a:pt x="162" y="343"/>
                </a:lnTo>
                <a:lnTo>
                  <a:pt x="109" y="343"/>
                </a:lnTo>
                <a:lnTo>
                  <a:pt x="109" y="555"/>
                </a:lnTo>
                <a:close/>
                <a:moveTo>
                  <a:pt x="215" y="555"/>
                </a:moveTo>
                <a:lnTo>
                  <a:pt x="268" y="555"/>
                </a:lnTo>
                <a:lnTo>
                  <a:pt x="268" y="290"/>
                </a:lnTo>
                <a:lnTo>
                  <a:pt x="215" y="290"/>
                </a:lnTo>
                <a:lnTo>
                  <a:pt x="215" y="555"/>
                </a:lnTo>
                <a:close/>
                <a:moveTo>
                  <a:pt x="321" y="555"/>
                </a:moveTo>
                <a:lnTo>
                  <a:pt x="374" y="555"/>
                </a:lnTo>
                <a:lnTo>
                  <a:pt x="374" y="238"/>
                </a:lnTo>
                <a:lnTo>
                  <a:pt x="321" y="238"/>
                </a:lnTo>
                <a:lnTo>
                  <a:pt x="321" y="555"/>
                </a:lnTo>
                <a:close/>
                <a:moveTo>
                  <a:pt x="427" y="555"/>
                </a:moveTo>
                <a:lnTo>
                  <a:pt x="480" y="555"/>
                </a:lnTo>
                <a:lnTo>
                  <a:pt x="480" y="185"/>
                </a:lnTo>
                <a:lnTo>
                  <a:pt x="427" y="185"/>
                </a:lnTo>
                <a:lnTo>
                  <a:pt x="427" y="55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endParaRPr lang="ru-RU"/>
          </a:p>
        </p:txBody>
      </p:sp>
      <p:pic>
        <p:nvPicPr>
          <p:cNvPr id="48" name="Picture 47">
            <a:extLst>
              <a:ext uri="{FF2B5EF4-FFF2-40B4-BE49-F238E27FC236}">
                <a16:creationId xmlns="" xmlns:a16="http://schemas.microsoft.com/office/drawing/2014/main" id="{54C2995F-FF70-E940-A74F-7382076B2088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380187" y="245087"/>
            <a:ext cx="468000" cy="468000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="" xmlns:a16="http://schemas.microsoft.com/office/drawing/2014/main" id="{48AEDE97-5761-5947-B833-695218A8140C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9192087" y="245087"/>
            <a:ext cx="468000" cy="46800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="" xmlns:a16="http://schemas.microsoft.com/office/drawing/2014/main" id="{6B26901D-16E9-0A47-819F-F69A543FB7C7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9779547" y="245087"/>
            <a:ext cx="468000" cy="468000"/>
          </a:xfrm>
          <a:prstGeom prst="rect">
            <a:avLst/>
          </a:prstGeom>
        </p:spPr>
      </p:pic>
      <p:sp>
        <p:nvSpPr>
          <p:cNvPr id="32" name="Freeform 31">
            <a:extLst>
              <a:ext uri="{FF2B5EF4-FFF2-40B4-BE49-F238E27FC236}">
                <a16:creationId xmlns="" xmlns:a16="http://schemas.microsoft.com/office/drawing/2014/main" id="{24B922D1-4BF5-C043-9A37-B0A94061A831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2661515" y="3498911"/>
            <a:ext cx="252000" cy="251992"/>
          </a:xfrm>
          <a:custGeom>
            <a:avLst/>
            <a:gdLst>
              <a:gd name="connsiteX0" fmla="*/ 95250 w 228247"/>
              <a:gd name="connsiteY0" fmla="*/ 114352 h 228240"/>
              <a:gd name="connsiteX1" fmla="*/ 95250 w 228247"/>
              <a:gd name="connsiteY1" fmla="*/ 207963 h 228240"/>
              <a:gd name="connsiteX2" fmla="*/ 133350 w 228247"/>
              <a:gd name="connsiteY2" fmla="*/ 207963 h 228240"/>
              <a:gd name="connsiteX3" fmla="*/ 133350 w 228247"/>
              <a:gd name="connsiteY3" fmla="*/ 114352 h 228240"/>
              <a:gd name="connsiteX4" fmla="*/ 171450 w 228247"/>
              <a:gd name="connsiteY4" fmla="*/ 95250 h 228240"/>
              <a:gd name="connsiteX5" fmla="*/ 190147 w 228247"/>
              <a:gd name="connsiteY5" fmla="*/ 95250 h 228240"/>
              <a:gd name="connsiteX6" fmla="*/ 190147 w 228247"/>
              <a:gd name="connsiteY6" fmla="*/ 171089 h 228240"/>
              <a:gd name="connsiteX7" fmla="*/ 180975 w 228247"/>
              <a:gd name="connsiteY7" fmla="*/ 171089 h 228240"/>
              <a:gd name="connsiteX8" fmla="*/ 171450 w 228247"/>
              <a:gd name="connsiteY8" fmla="*/ 171089 h 228240"/>
              <a:gd name="connsiteX9" fmla="*/ 38100 w 228247"/>
              <a:gd name="connsiteY9" fmla="*/ 95250 h 228240"/>
              <a:gd name="connsiteX10" fmla="*/ 56797 w 228247"/>
              <a:gd name="connsiteY10" fmla="*/ 95250 h 228240"/>
              <a:gd name="connsiteX11" fmla="*/ 56797 w 228247"/>
              <a:gd name="connsiteY11" fmla="*/ 171089 h 228240"/>
              <a:gd name="connsiteX12" fmla="*/ 47272 w 228247"/>
              <a:gd name="connsiteY12" fmla="*/ 171089 h 228240"/>
              <a:gd name="connsiteX13" fmla="*/ 38100 w 228247"/>
              <a:gd name="connsiteY13" fmla="*/ 171089 h 228240"/>
              <a:gd name="connsiteX14" fmla="*/ 159419 w 228247"/>
              <a:gd name="connsiteY14" fmla="*/ 23813 h 228240"/>
              <a:gd name="connsiteX15" fmla="*/ 161567 w 228247"/>
              <a:gd name="connsiteY15" fmla="*/ 37571 h 228240"/>
              <a:gd name="connsiteX16" fmla="*/ 155122 w 228247"/>
              <a:gd name="connsiteY16" fmla="*/ 61467 h 228240"/>
              <a:gd name="connsiteX17" fmla="*/ 137934 w 228247"/>
              <a:gd name="connsiteY17" fmla="*/ 78846 h 228240"/>
              <a:gd name="connsiteX18" fmla="*/ 114300 w 228247"/>
              <a:gd name="connsiteY18" fmla="*/ 85363 h 228240"/>
              <a:gd name="connsiteX19" fmla="*/ 90667 w 228247"/>
              <a:gd name="connsiteY19" fmla="*/ 78846 h 228240"/>
              <a:gd name="connsiteX20" fmla="*/ 73121 w 228247"/>
              <a:gd name="connsiteY20" fmla="*/ 61467 h 228240"/>
              <a:gd name="connsiteX21" fmla="*/ 66675 w 228247"/>
              <a:gd name="connsiteY21" fmla="*/ 37933 h 228240"/>
              <a:gd name="connsiteX22" fmla="*/ 89234 w 228247"/>
              <a:gd name="connsiteY22" fmla="*/ 51329 h 228240"/>
              <a:gd name="connsiteX23" fmla="*/ 89592 w 228247"/>
              <a:gd name="connsiteY23" fmla="*/ 51691 h 228240"/>
              <a:gd name="connsiteX24" fmla="*/ 99977 w 228247"/>
              <a:gd name="connsiteY24" fmla="*/ 62191 h 228240"/>
              <a:gd name="connsiteX25" fmla="*/ 114300 w 228247"/>
              <a:gd name="connsiteY25" fmla="*/ 66174 h 228240"/>
              <a:gd name="connsiteX26" fmla="*/ 128265 w 228247"/>
              <a:gd name="connsiteY26" fmla="*/ 62191 h 228240"/>
              <a:gd name="connsiteX27" fmla="*/ 138650 w 228247"/>
              <a:gd name="connsiteY27" fmla="*/ 51691 h 228240"/>
              <a:gd name="connsiteX28" fmla="*/ 142589 w 228247"/>
              <a:gd name="connsiteY28" fmla="*/ 37571 h 228240"/>
              <a:gd name="connsiteX29" fmla="*/ 142231 w 228247"/>
              <a:gd name="connsiteY29" fmla="*/ 33951 h 228240"/>
              <a:gd name="connsiteX30" fmla="*/ 0 w 228247"/>
              <a:gd name="connsiteY30" fmla="*/ 19050 h 228240"/>
              <a:gd name="connsiteX31" fmla="*/ 56793 w 228247"/>
              <a:gd name="connsiteY31" fmla="*/ 19050 h 228240"/>
              <a:gd name="connsiteX32" fmla="*/ 56793 w 228247"/>
              <a:gd name="connsiteY32" fmla="*/ 37747 h 228240"/>
              <a:gd name="connsiteX33" fmla="*/ 28575 w 228247"/>
              <a:gd name="connsiteY33" fmla="*/ 37747 h 228240"/>
              <a:gd name="connsiteX34" fmla="*/ 18697 w 228247"/>
              <a:gd name="connsiteY34" fmla="*/ 37747 h 228240"/>
              <a:gd name="connsiteX35" fmla="*/ 18697 w 228247"/>
              <a:gd name="connsiteY35" fmla="*/ 57150 h 228240"/>
              <a:gd name="connsiteX36" fmla="*/ 56793 w 228247"/>
              <a:gd name="connsiteY36" fmla="*/ 57150 h 228240"/>
              <a:gd name="connsiteX37" fmla="*/ 56793 w 228247"/>
              <a:gd name="connsiteY37" fmla="*/ 75840 h 228240"/>
              <a:gd name="connsiteX38" fmla="*/ 28575 w 228247"/>
              <a:gd name="connsiteY38" fmla="*/ 75840 h 228240"/>
              <a:gd name="connsiteX39" fmla="*/ 18697 w 228247"/>
              <a:gd name="connsiteY39" fmla="*/ 75840 h 228240"/>
              <a:gd name="connsiteX40" fmla="*/ 18697 w 228247"/>
              <a:gd name="connsiteY40" fmla="*/ 207963 h 228240"/>
              <a:gd name="connsiteX41" fmla="*/ 76200 w 228247"/>
              <a:gd name="connsiteY41" fmla="*/ 207963 h 228240"/>
              <a:gd name="connsiteX42" fmla="*/ 76200 w 228247"/>
              <a:gd name="connsiteY42" fmla="*/ 95250 h 228240"/>
              <a:gd name="connsiteX43" fmla="*/ 152041 w 228247"/>
              <a:gd name="connsiteY43" fmla="*/ 95250 h 228240"/>
              <a:gd name="connsiteX44" fmla="*/ 152041 w 228247"/>
              <a:gd name="connsiteY44" fmla="*/ 207963 h 228240"/>
              <a:gd name="connsiteX45" fmla="*/ 209550 w 228247"/>
              <a:gd name="connsiteY45" fmla="*/ 207963 h 228240"/>
              <a:gd name="connsiteX46" fmla="*/ 209550 w 228247"/>
              <a:gd name="connsiteY46" fmla="*/ 75840 h 228240"/>
              <a:gd name="connsiteX47" fmla="*/ 200025 w 228247"/>
              <a:gd name="connsiteY47" fmla="*/ 75840 h 228240"/>
              <a:gd name="connsiteX48" fmla="*/ 171450 w 228247"/>
              <a:gd name="connsiteY48" fmla="*/ 75840 h 228240"/>
              <a:gd name="connsiteX49" fmla="*/ 171450 w 228247"/>
              <a:gd name="connsiteY49" fmla="*/ 57150 h 228240"/>
              <a:gd name="connsiteX50" fmla="*/ 209550 w 228247"/>
              <a:gd name="connsiteY50" fmla="*/ 57150 h 228240"/>
              <a:gd name="connsiteX51" fmla="*/ 209550 w 228247"/>
              <a:gd name="connsiteY51" fmla="*/ 37747 h 228240"/>
              <a:gd name="connsiteX52" fmla="*/ 200025 w 228247"/>
              <a:gd name="connsiteY52" fmla="*/ 37747 h 228240"/>
              <a:gd name="connsiteX53" fmla="*/ 171450 w 228247"/>
              <a:gd name="connsiteY53" fmla="*/ 37747 h 228240"/>
              <a:gd name="connsiteX54" fmla="*/ 171450 w 228247"/>
              <a:gd name="connsiteY54" fmla="*/ 19050 h 228240"/>
              <a:gd name="connsiteX55" fmla="*/ 228243 w 228247"/>
              <a:gd name="connsiteY55" fmla="*/ 19050 h 228240"/>
              <a:gd name="connsiteX56" fmla="*/ 228243 w 228247"/>
              <a:gd name="connsiteY56" fmla="*/ 28575 h 228240"/>
              <a:gd name="connsiteX57" fmla="*/ 228247 w 228247"/>
              <a:gd name="connsiteY57" fmla="*/ 28575 h 228240"/>
              <a:gd name="connsiteX58" fmla="*/ 228247 w 228247"/>
              <a:gd name="connsiteY58" fmla="*/ 228240 h 228240"/>
              <a:gd name="connsiteX59" fmla="*/ 219075 w 228247"/>
              <a:gd name="connsiteY59" fmla="*/ 228240 h 228240"/>
              <a:gd name="connsiteX60" fmla="*/ 209550 w 228247"/>
              <a:gd name="connsiteY60" fmla="*/ 228240 h 228240"/>
              <a:gd name="connsiteX61" fmla="*/ 209550 w 228247"/>
              <a:gd name="connsiteY61" fmla="*/ 226660 h 228240"/>
              <a:gd name="connsiteX62" fmla="*/ 152041 w 228247"/>
              <a:gd name="connsiteY62" fmla="*/ 226660 h 228240"/>
              <a:gd name="connsiteX63" fmla="*/ 152041 w 228247"/>
              <a:gd name="connsiteY63" fmla="*/ 228240 h 228240"/>
              <a:gd name="connsiteX64" fmla="*/ 76200 w 228247"/>
              <a:gd name="connsiteY64" fmla="*/ 228240 h 228240"/>
              <a:gd name="connsiteX65" fmla="*/ 76200 w 228247"/>
              <a:gd name="connsiteY65" fmla="*/ 226660 h 228240"/>
              <a:gd name="connsiteX66" fmla="*/ 18697 w 228247"/>
              <a:gd name="connsiteY66" fmla="*/ 226660 h 228240"/>
              <a:gd name="connsiteX67" fmla="*/ 18697 w 228247"/>
              <a:gd name="connsiteY67" fmla="*/ 228240 h 228240"/>
              <a:gd name="connsiteX68" fmla="*/ 9525 w 228247"/>
              <a:gd name="connsiteY68" fmla="*/ 228240 h 228240"/>
              <a:gd name="connsiteX69" fmla="*/ 0 w 228247"/>
              <a:gd name="connsiteY69" fmla="*/ 228240 h 228240"/>
              <a:gd name="connsiteX70" fmla="*/ 0 w 228247"/>
              <a:gd name="connsiteY70" fmla="*/ 226660 h 228240"/>
              <a:gd name="connsiteX71" fmla="*/ 0 w 228247"/>
              <a:gd name="connsiteY71" fmla="*/ 207963 h 228240"/>
              <a:gd name="connsiteX72" fmla="*/ 0 w 228247"/>
              <a:gd name="connsiteY72" fmla="*/ 75840 h 228240"/>
              <a:gd name="connsiteX73" fmla="*/ 0 w 228247"/>
              <a:gd name="connsiteY73" fmla="*/ 57150 h 228240"/>
              <a:gd name="connsiteX74" fmla="*/ 0 w 228247"/>
              <a:gd name="connsiteY74" fmla="*/ 37747 h 228240"/>
              <a:gd name="connsiteX75" fmla="*/ 0 w 228247"/>
              <a:gd name="connsiteY75" fmla="*/ 28575 h 228240"/>
              <a:gd name="connsiteX76" fmla="*/ 144566 w 228247"/>
              <a:gd name="connsiteY76" fmla="*/ 0 h 228240"/>
              <a:gd name="connsiteX77" fmla="*/ 156083 w 228247"/>
              <a:gd name="connsiteY77" fmla="*/ 13451 h 228240"/>
              <a:gd name="connsiteX78" fmla="*/ 156803 w 228247"/>
              <a:gd name="connsiteY78" fmla="*/ 14905 h 228240"/>
              <a:gd name="connsiteX79" fmla="*/ 140607 w 228247"/>
              <a:gd name="connsiteY79" fmla="*/ 24721 h 228240"/>
              <a:gd name="connsiteX80" fmla="*/ 101736 w 228247"/>
              <a:gd name="connsiteY80" fmla="*/ 47261 h 228240"/>
              <a:gd name="connsiteX81" fmla="*/ 86259 w 228247"/>
              <a:gd name="connsiteY81" fmla="*/ 38173 h 228240"/>
              <a:gd name="connsiteX82" fmla="*/ 68263 w 228247"/>
              <a:gd name="connsiteY82" fmla="*/ 27993 h 228240"/>
              <a:gd name="connsiteX83" fmla="*/ 73662 w 228247"/>
              <a:gd name="connsiteY83" fmla="*/ 13815 h 228240"/>
              <a:gd name="connsiteX84" fmla="*/ 75821 w 228247"/>
              <a:gd name="connsiteY84" fmla="*/ 10179 h 228240"/>
              <a:gd name="connsiteX85" fmla="*/ 92378 w 228247"/>
              <a:gd name="connsiteY85" fmla="*/ 19632 h 228240"/>
              <a:gd name="connsiteX86" fmla="*/ 101736 w 228247"/>
              <a:gd name="connsiteY86" fmla="*/ 25085 h 228240"/>
              <a:gd name="connsiteX87" fmla="*/ 125850 w 228247"/>
              <a:gd name="connsiteY87" fmla="*/ 10906 h 228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228247" h="228240">
                <a:moveTo>
                  <a:pt x="95250" y="114352"/>
                </a:moveTo>
                <a:lnTo>
                  <a:pt x="95250" y="207963"/>
                </a:lnTo>
                <a:lnTo>
                  <a:pt x="133350" y="207963"/>
                </a:lnTo>
                <a:lnTo>
                  <a:pt x="133350" y="114352"/>
                </a:lnTo>
                <a:close/>
                <a:moveTo>
                  <a:pt x="171450" y="95250"/>
                </a:moveTo>
                <a:lnTo>
                  <a:pt x="190147" y="95250"/>
                </a:lnTo>
                <a:lnTo>
                  <a:pt x="190147" y="171089"/>
                </a:lnTo>
                <a:lnTo>
                  <a:pt x="180975" y="171089"/>
                </a:lnTo>
                <a:lnTo>
                  <a:pt x="171450" y="171089"/>
                </a:lnTo>
                <a:close/>
                <a:moveTo>
                  <a:pt x="38100" y="95250"/>
                </a:moveTo>
                <a:lnTo>
                  <a:pt x="56797" y="95250"/>
                </a:lnTo>
                <a:lnTo>
                  <a:pt x="56797" y="171089"/>
                </a:lnTo>
                <a:lnTo>
                  <a:pt x="47272" y="171089"/>
                </a:lnTo>
                <a:lnTo>
                  <a:pt x="38100" y="171089"/>
                </a:lnTo>
                <a:close/>
                <a:moveTo>
                  <a:pt x="159419" y="23813"/>
                </a:moveTo>
                <a:cubicBezTo>
                  <a:pt x="160851" y="28520"/>
                  <a:pt x="161567" y="32502"/>
                  <a:pt x="161567" y="37571"/>
                </a:cubicBezTo>
                <a:cubicBezTo>
                  <a:pt x="161567" y="46260"/>
                  <a:pt x="159419" y="53502"/>
                  <a:pt x="155122" y="61467"/>
                </a:cubicBezTo>
                <a:cubicBezTo>
                  <a:pt x="150825" y="69070"/>
                  <a:pt x="145453" y="74501"/>
                  <a:pt x="137934" y="78846"/>
                </a:cubicBezTo>
                <a:cubicBezTo>
                  <a:pt x="130414" y="83190"/>
                  <a:pt x="122894" y="85363"/>
                  <a:pt x="114300" y="85363"/>
                </a:cubicBezTo>
                <a:cubicBezTo>
                  <a:pt x="105348" y="85363"/>
                  <a:pt x="98186" y="83190"/>
                  <a:pt x="90667" y="78846"/>
                </a:cubicBezTo>
                <a:cubicBezTo>
                  <a:pt x="82789" y="74501"/>
                  <a:pt x="77418" y="69070"/>
                  <a:pt x="73121" y="61467"/>
                </a:cubicBezTo>
                <a:cubicBezTo>
                  <a:pt x="68824" y="53864"/>
                  <a:pt x="67033" y="46623"/>
                  <a:pt x="66675" y="37933"/>
                </a:cubicBezTo>
                <a:lnTo>
                  <a:pt x="89234" y="51329"/>
                </a:lnTo>
                <a:cubicBezTo>
                  <a:pt x="89592" y="51329"/>
                  <a:pt x="89592" y="51691"/>
                  <a:pt x="89592" y="51691"/>
                </a:cubicBezTo>
                <a:cubicBezTo>
                  <a:pt x="92457" y="56398"/>
                  <a:pt x="95680" y="59657"/>
                  <a:pt x="99977" y="62191"/>
                </a:cubicBezTo>
                <a:cubicBezTo>
                  <a:pt x="104632" y="64725"/>
                  <a:pt x="108929" y="66174"/>
                  <a:pt x="114300" y="66174"/>
                </a:cubicBezTo>
                <a:cubicBezTo>
                  <a:pt x="119313" y="66174"/>
                  <a:pt x="123968" y="64725"/>
                  <a:pt x="128265" y="62191"/>
                </a:cubicBezTo>
                <a:cubicBezTo>
                  <a:pt x="132920" y="59657"/>
                  <a:pt x="136143" y="56398"/>
                  <a:pt x="138650" y="51691"/>
                </a:cubicBezTo>
                <a:cubicBezTo>
                  <a:pt x="141514" y="46985"/>
                  <a:pt x="142589" y="42640"/>
                  <a:pt x="142589" y="37571"/>
                </a:cubicBezTo>
                <a:cubicBezTo>
                  <a:pt x="142589" y="36123"/>
                  <a:pt x="142231" y="35037"/>
                  <a:pt x="142231" y="33951"/>
                </a:cubicBezTo>
                <a:close/>
                <a:moveTo>
                  <a:pt x="0" y="19050"/>
                </a:moveTo>
                <a:lnTo>
                  <a:pt x="56793" y="19050"/>
                </a:lnTo>
                <a:lnTo>
                  <a:pt x="56793" y="37747"/>
                </a:lnTo>
                <a:lnTo>
                  <a:pt x="28575" y="37747"/>
                </a:lnTo>
                <a:lnTo>
                  <a:pt x="18697" y="37747"/>
                </a:lnTo>
                <a:lnTo>
                  <a:pt x="18697" y="57150"/>
                </a:lnTo>
                <a:lnTo>
                  <a:pt x="56793" y="57150"/>
                </a:lnTo>
                <a:lnTo>
                  <a:pt x="56793" y="75840"/>
                </a:lnTo>
                <a:lnTo>
                  <a:pt x="28575" y="75840"/>
                </a:lnTo>
                <a:lnTo>
                  <a:pt x="18697" y="75840"/>
                </a:lnTo>
                <a:lnTo>
                  <a:pt x="18697" y="207963"/>
                </a:lnTo>
                <a:lnTo>
                  <a:pt x="76200" y="207963"/>
                </a:lnTo>
                <a:lnTo>
                  <a:pt x="76200" y="95250"/>
                </a:lnTo>
                <a:lnTo>
                  <a:pt x="152041" y="95250"/>
                </a:lnTo>
                <a:lnTo>
                  <a:pt x="152041" y="207963"/>
                </a:lnTo>
                <a:lnTo>
                  <a:pt x="209550" y="207963"/>
                </a:lnTo>
                <a:lnTo>
                  <a:pt x="209550" y="75840"/>
                </a:lnTo>
                <a:lnTo>
                  <a:pt x="200025" y="75840"/>
                </a:lnTo>
                <a:lnTo>
                  <a:pt x="171450" y="75840"/>
                </a:lnTo>
                <a:lnTo>
                  <a:pt x="171450" y="57150"/>
                </a:lnTo>
                <a:lnTo>
                  <a:pt x="209550" y="57150"/>
                </a:lnTo>
                <a:lnTo>
                  <a:pt x="209550" y="37747"/>
                </a:lnTo>
                <a:lnTo>
                  <a:pt x="200025" y="37747"/>
                </a:lnTo>
                <a:lnTo>
                  <a:pt x="171450" y="37747"/>
                </a:lnTo>
                <a:lnTo>
                  <a:pt x="171450" y="19050"/>
                </a:lnTo>
                <a:lnTo>
                  <a:pt x="228243" y="19050"/>
                </a:lnTo>
                <a:lnTo>
                  <a:pt x="228243" y="28575"/>
                </a:lnTo>
                <a:lnTo>
                  <a:pt x="228247" y="28575"/>
                </a:lnTo>
                <a:lnTo>
                  <a:pt x="228247" y="228240"/>
                </a:lnTo>
                <a:lnTo>
                  <a:pt x="219075" y="228240"/>
                </a:lnTo>
                <a:lnTo>
                  <a:pt x="209550" y="228240"/>
                </a:lnTo>
                <a:lnTo>
                  <a:pt x="209550" y="226660"/>
                </a:lnTo>
                <a:lnTo>
                  <a:pt x="152041" y="226660"/>
                </a:lnTo>
                <a:lnTo>
                  <a:pt x="152041" y="228240"/>
                </a:lnTo>
                <a:lnTo>
                  <a:pt x="76200" y="228240"/>
                </a:lnTo>
                <a:lnTo>
                  <a:pt x="76200" y="226660"/>
                </a:lnTo>
                <a:lnTo>
                  <a:pt x="18697" y="226660"/>
                </a:lnTo>
                <a:lnTo>
                  <a:pt x="18697" y="228240"/>
                </a:lnTo>
                <a:lnTo>
                  <a:pt x="9525" y="228240"/>
                </a:lnTo>
                <a:lnTo>
                  <a:pt x="0" y="228240"/>
                </a:lnTo>
                <a:lnTo>
                  <a:pt x="0" y="226660"/>
                </a:lnTo>
                <a:lnTo>
                  <a:pt x="0" y="207963"/>
                </a:lnTo>
                <a:lnTo>
                  <a:pt x="0" y="75840"/>
                </a:lnTo>
                <a:lnTo>
                  <a:pt x="0" y="57150"/>
                </a:lnTo>
                <a:lnTo>
                  <a:pt x="0" y="37747"/>
                </a:lnTo>
                <a:lnTo>
                  <a:pt x="0" y="28575"/>
                </a:lnTo>
                <a:close/>
                <a:moveTo>
                  <a:pt x="144566" y="0"/>
                </a:moveTo>
                <a:cubicBezTo>
                  <a:pt x="149605" y="3999"/>
                  <a:pt x="152844" y="7998"/>
                  <a:pt x="156083" y="13451"/>
                </a:cubicBezTo>
                <a:cubicBezTo>
                  <a:pt x="156443" y="14178"/>
                  <a:pt x="156803" y="14542"/>
                  <a:pt x="156803" y="14905"/>
                </a:cubicBezTo>
                <a:lnTo>
                  <a:pt x="140607" y="24721"/>
                </a:lnTo>
                <a:lnTo>
                  <a:pt x="101736" y="47261"/>
                </a:lnTo>
                <a:lnTo>
                  <a:pt x="86259" y="38173"/>
                </a:lnTo>
                <a:lnTo>
                  <a:pt x="68263" y="27993"/>
                </a:lnTo>
                <a:cubicBezTo>
                  <a:pt x="69343" y="22540"/>
                  <a:pt x="70783" y="18541"/>
                  <a:pt x="73662" y="13815"/>
                </a:cubicBezTo>
                <a:cubicBezTo>
                  <a:pt x="74382" y="12724"/>
                  <a:pt x="75102" y="11270"/>
                  <a:pt x="75821" y="10179"/>
                </a:cubicBezTo>
                <a:lnTo>
                  <a:pt x="92378" y="19632"/>
                </a:lnTo>
                <a:lnTo>
                  <a:pt x="101736" y="25085"/>
                </a:lnTo>
                <a:lnTo>
                  <a:pt x="125850" y="1090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ru-RU"/>
          </a:p>
        </p:txBody>
      </p:sp>
      <p:sp>
        <p:nvSpPr>
          <p:cNvPr id="34" name="Freeform 33">
            <a:extLst>
              <a:ext uri="{FF2B5EF4-FFF2-40B4-BE49-F238E27FC236}">
                <a16:creationId xmlns="" xmlns:a16="http://schemas.microsoft.com/office/drawing/2014/main" id="{E06D375E-AAA4-E343-883A-86C32752AC63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2314645" y="3498913"/>
            <a:ext cx="252000" cy="251997"/>
          </a:xfrm>
          <a:custGeom>
            <a:avLst/>
            <a:gdLst>
              <a:gd name="connsiteX0" fmla="*/ 152043 w 228241"/>
              <a:gd name="connsiteY0" fmla="*/ 150813 h 228239"/>
              <a:gd name="connsiteX1" fmla="*/ 147400 w 228241"/>
              <a:gd name="connsiteY1" fmla="*/ 151891 h 228239"/>
              <a:gd name="connsiteX2" fmla="*/ 143828 w 228241"/>
              <a:gd name="connsiteY2" fmla="*/ 155486 h 228239"/>
              <a:gd name="connsiteX3" fmla="*/ 142756 w 228241"/>
              <a:gd name="connsiteY3" fmla="*/ 160158 h 228239"/>
              <a:gd name="connsiteX4" fmla="*/ 143828 w 228241"/>
              <a:gd name="connsiteY4" fmla="*/ 164831 h 228239"/>
              <a:gd name="connsiteX5" fmla="*/ 147400 w 228241"/>
              <a:gd name="connsiteY5" fmla="*/ 168425 h 228239"/>
              <a:gd name="connsiteX6" fmla="*/ 152043 w 228241"/>
              <a:gd name="connsiteY6" fmla="*/ 169504 h 228239"/>
              <a:gd name="connsiteX7" fmla="*/ 156686 w 228241"/>
              <a:gd name="connsiteY7" fmla="*/ 168425 h 228239"/>
              <a:gd name="connsiteX8" fmla="*/ 160258 w 228241"/>
              <a:gd name="connsiteY8" fmla="*/ 164831 h 228239"/>
              <a:gd name="connsiteX9" fmla="*/ 161687 w 228241"/>
              <a:gd name="connsiteY9" fmla="*/ 160158 h 228239"/>
              <a:gd name="connsiteX10" fmla="*/ 160258 w 228241"/>
              <a:gd name="connsiteY10" fmla="*/ 155486 h 228239"/>
              <a:gd name="connsiteX11" fmla="*/ 156686 w 228241"/>
              <a:gd name="connsiteY11" fmla="*/ 151891 h 228239"/>
              <a:gd name="connsiteX12" fmla="*/ 152043 w 228241"/>
              <a:gd name="connsiteY12" fmla="*/ 150813 h 228239"/>
              <a:gd name="connsiteX13" fmla="*/ 152043 w 228241"/>
              <a:gd name="connsiteY13" fmla="*/ 131763 h 228239"/>
              <a:gd name="connsiteX14" fmla="*/ 166331 w 228241"/>
              <a:gd name="connsiteY14" fmla="*/ 135357 h 228239"/>
              <a:gd name="connsiteX15" fmla="*/ 176689 w 228241"/>
              <a:gd name="connsiteY15" fmla="*/ 145781 h 228239"/>
              <a:gd name="connsiteX16" fmla="*/ 180618 w 228241"/>
              <a:gd name="connsiteY16" fmla="*/ 160158 h 228239"/>
              <a:gd name="connsiteX17" fmla="*/ 176689 w 228241"/>
              <a:gd name="connsiteY17" fmla="*/ 174536 h 228239"/>
              <a:gd name="connsiteX18" fmla="*/ 166331 w 228241"/>
              <a:gd name="connsiteY18" fmla="*/ 184959 h 228239"/>
              <a:gd name="connsiteX19" fmla="*/ 152043 w 228241"/>
              <a:gd name="connsiteY19" fmla="*/ 188554 h 228239"/>
              <a:gd name="connsiteX20" fmla="*/ 138113 w 228241"/>
              <a:gd name="connsiteY20" fmla="*/ 184959 h 228239"/>
              <a:gd name="connsiteX21" fmla="*/ 127397 w 228241"/>
              <a:gd name="connsiteY21" fmla="*/ 174536 h 228239"/>
              <a:gd name="connsiteX22" fmla="*/ 123825 w 228241"/>
              <a:gd name="connsiteY22" fmla="*/ 160158 h 228239"/>
              <a:gd name="connsiteX23" fmla="*/ 127397 w 228241"/>
              <a:gd name="connsiteY23" fmla="*/ 145781 h 228239"/>
              <a:gd name="connsiteX24" fmla="*/ 138113 w 228241"/>
              <a:gd name="connsiteY24" fmla="*/ 135357 h 228239"/>
              <a:gd name="connsiteX25" fmla="*/ 152043 w 228241"/>
              <a:gd name="connsiteY25" fmla="*/ 131763 h 228239"/>
              <a:gd name="connsiteX26" fmla="*/ 76200 w 228241"/>
              <a:gd name="connsiteY26" fmla="*/ 85846 h 228239"/>
              <a:gd name="connsiteX27" fmla="*/ 71200 w 228241"/>
              <a:gd name="connsiteY27" fmla="*/ 86931 h 228239"/>
              <a:gd name="connsiteX28" fmla="*/ 67985 w 228241"/>
              <a:gd name="connsiteY28" fmla="*/ 90548 h 228239"/>
              <a:gd name="connsiteX29" fmla="*/ 66556 w 228241"/>
              <a:gd name="connsiteY29" fmla="*/ 95250 h 228239"/>
              <a:gd name="connsiteX30" fmla="*/ 67985 w 228241"/>
              <a:gd name="connsiteY30" fmla="*/ 99952 h 228239"/>
              <a:gd name="connsiteX31" fmla="*/ 71200 w 228241"/>
              <a:gd name="connsiteY31" fmla="*/ 103569 h 228239"/>
              <a:gd name="connsiteX32" fmla="*/ 76200 w 228241"/>
              <a:gd name="connsiteY32" fmla="*/ 105016 h 228239"/>
              <a:gd name="connsiteX33" fmla="*/ 80844 w 228241"/>
              <a:gd name="connsiteY33" fmla="*/ 103569 h 228239"/>
              <a:gd name="connsiteX34" fmla="*/ 84058 w 228241"/>
              <a:gd name="connsiteY34" fmla="*/ 99952 h 228239"/>
              <a:gd name="connsiteX35" fmla="*/ 85487 w 228241"/>
              <a:gd name="connsiteY35" fmla="*/ 95250 h 228239"/>
              <a:gd name="connsiteX36" fmla="*/ 84058 w 228241"/>
              <a:gd name="connsiteY36" fmla="*/ 90548 h 228239"/>
              <a:gd name="connsiteX37" fmla="*/ 80844 w 228241"/>
              <a:gd name="connsiteY37" fmla="*/ 86931 h 228239"/>
              <a:gd name="connsiteX38" fmla="*/ 76200 w 228241"/>
              <a:gd name="connsiteY38" fmla="*/ 85846 h 228239"/>
              <a:gd name="connsiteX39" fmla="*/ 144412 w 228241"/>
              <a:gd name="connsiteY39" fmla="*/ 79375 h 228239"/>
              <a:gd name="connsiteX40" fmla="*/ 158392 w 228241"/>
              <a:gd name="connsiteY40" fmla="*/ 92011 h 228239"/>
              <a:gd name="connsiteX41" fmla="*/ 115734 w 228241"/>
              <a:gd name="connsiteY41" fmla="*/ 139307 h 228239"/>
              <a:gd name="connsiteX42" fmla="*/ 73077 w 228241"/>
              <a:gd name="connsiteY42" fmla="*/ 186964 h 228239"/>
              <a:gd name="connsiteX43" fmla="*/ 58738 w 228241"/>
              <a:gd name="connsiteY43" fmla="*/ 174328 h 228239"/>
              <a:gd name="connsiteX44" fmla="*/ 76200 w 228241"/>
              <a:gd name="connsiteY44" fmla="*/ 66675 h 228239"/>
              <a:gd name="connsiteX45" fmla="*/ 90131 w 228241"/>
              <a:gd name="connsiteY45" fmla="*/ 70654 h 228239"/>
              <a:gd name="connsiteX46" fmla="*/ 100489 w 228241"/>
              <a:gd name="connsiteY46" fmla="*/ 81143 h 228239"/>
              <a:gd name="connsiteX47" fmla="*/ 104418 w 228241"/>
              <a:gd name="connsiteY47" fmla="*/ 95250 h 228239"/>
              <a:gd name="connsiteX48" fmla="*/ 100489 w 228241"/>
              <a:gd name="connsiteY48" fmla="*/ 109718 h 228239"/>
              <a:gd name="connsiteX49" fmla="*/ 90131 w 228241"/>
              <a:gd name="connsiteY49" fmla="*/ 119846 h 228239"/>
              <a:gd name="connsiteX50" fmla="*/ 76200 w 228241"/>
              <a:gd name="connsiteY50" fmla="*/ 123463 h 228239"/>
              <a:gd name="connsiteX51" fmla="*/ 61913 w 228241"/>
              <a:gd name="connsiteY51" fmla="*/ 119846 h 228239"/>
              <a:gd name="connsiteX52" fmla="*/ 51554 w 228241"/>
              <a:gd name="connsiteY52" fmla="*/ 109718 h 228239"/>
              <a:gd name="connsiteX53" fmla="*/ 47625 w 228241"/>
              <a:gd name="connsiteY53" fmla="*/ 95250 h 228239"/>
              <a:gd name="connsiteX54" fmla="*/ 51554 w 228241"/>
              <a:gd name="connsiteY54" fmla="*/ 81143 h 228239"/>
              <a:gd name="connsiteX55" fmla="*/ 61913 w 228241"/>
              <a:gd name="connsiteY55" fmla="*/ 70654 h 228239"/>
              <a:gd name="connsiteX56" fmla="*/ 76200 w 228241"/>
              <a:gd name="connsiteY56" fmla="*/ 66675 h 228239"/>
              <a:gd name="connsiteX57" fmla="*/ 113941 w 228241"/>
              <a:gd name="connsiteY57" fmla="*/ 20387 h 228239"/>
              <a:gd name="connsiteX58" fmla="*/ 37747 w 228241"/>
              <a:gd name="connsiteY58" fmla="*/ 67025 h 228239"/>
              <a:gd name="connsiteX59" fmla="*/ 37747 w 228241"/>
              <a:gd name="connsiteY59" fmla="*/ 207963 h 228239"/>
              <a:gd name="connsiteX60" fmla="*/ 190500 w 228241"/>
              <a:gd name="connsiteY60" fmla="*/ 207963 h 228239"/>
              <a:gd name="connsiteX61" fmla="*/ 190500 w 228241"/>
              <a:gd name="connsiteY61" fmla="*/ 67102 h 228239"/>
              <a:gd name="connsiteX62" fmla="*/ 111425 w 228241"/>
              <a:gd name="connsiteY62" fmla="*/ 0 h 228239"/>
              <a:gd name="connsiteX63" fmla="*/ 116816 w 228241"/>
              <a:gd name="connsiteY63" fmla="*/ 0 h 228239"/>
              <a:gd name="connsiteX64" fmla="*/ 171450 w 228241"/>
              <a:gd name="connsiteY64" fmla="*/ 33496 h 228239"/>
              <a:gd name="connsiteX65" fmla="*/ 171450 w 228241"/>
              <a:gd name="connsiteY65" fmla="*/ 9525 h 228239"/>
              <a:gd name="connsiteX66" fmla="*/ 190147 w 228241"/>
              <a:gd name="connsiteY66" fmla="*/ 9525 h 228239"/>
              <a:gd name="connsiteX67" fmla="*/ 190147 w 228241"/>
              <a:gd name="connsiteY67" fmla="*/ 44958 h 228239"/>
              <a:gd name="connsiteX68" fmla="*/ 228241 w 228241"/>
              <a:gd name="connsiteY68" fmla="*/ 68313 h 228239"/>
              <a:gd name="connsiteX69" fmla="*/ 228241 w 228241"/>
              <a:gd name="connsiteY69" fmla="*/ 90130 h 228239"/>
              <a:gd name="connsiteX70" fmla="*/ 209197 w 228241"/>
              <a:gd name="connsiteY70" fmla="*/ 78510 h 228239"/>
              <a:gd name="connsiteX71" fmla="*/ 209197 w 228241"/>
              <a:gd name="connsiteY71" fmla="*/ 228239 h 228239"/>
              <a:gd name="connsiteX72" fmla="*/ 199672 w 228241"/>
              <a:gd name="connsiteY72" fmla="*/ 228239 h 228239"/>
              <a:gd name="connsiteX73" fmla="*/ 190500 w 228241"/>
              <a:gd name="connsiteY73" fmla="*/ 228239 h 228239"/>
              <a:gd name="connsiteX74" fmla="*/ 190500 w 228241"/>
              <a:gd name="connsiteY74" fmla="*/ 226660 h 228239"/>
              <a:gd name="connsiteX75" fmla="*/ 114121 w 228241"/>
              <a:gd name="connsiteY75" fmla="*/ 226660 h 228239"/>
              <a:gd name="connsiteX76" fmla="*/ 37747 w 228241"/>
              <a:gd name="connsiteY76" fmla="*/ 226660 h 228239"/>
              <a:gd name="connsiteX77" fmla="*/ 37747 w 228241"/>
              <a:gd name="connsiteY77" fmla="*/ 228239 h 228239"/>
              <a:gd name="connsiteX78" fmla="*/ 28222 w 228241"/>
              <a:gd name="connsiteY78" fmla="*/ 228239 h 228239"/>
              <a:gd name="connsiteX79" fmla="*/ 19050 w 228241"/>
              <a:gd name="connsiteY79" fmla="*/ 228239 h 228239"/>
              <a:gd name="connsiteX80" fmla="*/ 19050 w 228241"/>
              <a:gd name="connsiteY80" fmla="*/ 78470 h 228239"/>
              <a:gd name="connsiteX81" fmla="*/ 0 w 228241"/>
              <a:gd name="connsiteY81" fmla="*/ 90130 h 228239"/>
              <a:gd name="connsiteX82" fmla="*/ 0 w 228241"/>
              <a:gd name="connsiteY82" fmla="*/ 68313 h 228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228241" h="228239">
                <a:moveTo>
                  <a:pt x="152043" y="150813"/>
                </a:moveTo>
                <a:cubicBezTo>
                  <a:pt x="150257" y="150813"/>
                  <a:pt x="148828" y="151173"/>
                  <a:pt x="147400" y="151891"/>
                </a:cubicBezTo>
                <a:cubicBezTo>
                  <a:pt x="145971" y="152970"/>
                  <a:pt x="144899" y="154048"/>
                  <a:pt x="143828" y="155486"/>
                </a:cubicBezTo>
                <a:cubicBezTo>
                  <a:pt x="143113" y="156924"/>
                  <a:pt x="142756" y="158361"/>
                  <a:pt x="142756" y="160158"/>
                </a:cubicBezTo>
                <a:cubicBezTo>
                  <a:pt x="142756" y="161956"/>
                  <a:pt x="143113" y="163393"/>
                  <a:pt x="143828" y="164831"/>
                </a:cubicBezTo>
                <a:cubicBezTo>
                  <a:pt x="144899" y="166628"/>
                  <a:pt x="145971" y="167707"/>
                  <a:pt x="147400" y="168425"/>
                </a:cubicBezTo>
                <a:cubicBezTo>
                  <a:pt x="148828" y="169504"/>
                  <a:pt x="150257" y="169504"/>
                  <a:pt x="152043" y="169504"/>
                </a:cubicBezTo>
                <a:cubicBezTo>
                  <a:pt x="153829" y="169504"/>
                  <a:pt x="155258" y="169144"/>
                  <a:pt x="156686" y="168425"/>
                </a:cubicBezTo>
                <a:cubicBezTo>
                  <a:pt x="158472" y="167347"/>
                  <a:pt x="159544" y="166269"/>
                  <a:pt x="160258" y="164831"/>
                </a:cubicBezTo>
                <a:cubicBezTo>
                  <a:pt x="161330" y="163393"/>
                  <a:pt x="161687" y="161956"/>
                  <a:pt x="161687" y="160158"/>
                </a:cubicBezTo>
                <a:cubicBezTo>
                  <a:pt x="161687" y="158361"/>
                  <a:pt x="161330" y="157283"/>
                  <a:pt x="160258" y="155486"/>
                </a:cubicBezTo>
                <a:cubicBezTo>
                  <a:pt x="159544" y="154407"/>
                  <a:pt x="158472" y="152970"/>
                  <a:pt x="156686" y="151891"/>
                </a:cubicBezTo>
                <a:cubicBezTo>
                  <a:pt x="155258" y="151173"/>
                  <a:pt x="153829" y="150813"/>
                  <a:pt x="152043" y="150813"/>
                </a:cubicBezTo>
                <a:close/>
                <a:moveTo>
                  <a:pt x="152043" y="131763"/>
                </a:moveTo>
                <a:cubicBezTo>
                  <a:pt x="157401" y="131763"/>
                  <a:pt x="161687" y="132841"/>
                  <a:pt x="166331" y="135357"/>
                </a:cubicBezTo>
                <a:cubicBezTo>
                  <a:pt x="170617" y="138233"/>
                  <a:pt x="174189" y="141468"/>
                  <a:pt x="176689" y="145781"/>
                </a:cubicBezTo>
                <a:cubicBezTo>
                  <a:pt x="179189" y="150454"/>
                  <a:pt x="180618" y="154767"/>
                  <a:pt x="180618" y="160158"/>
                </a:cubicBezTo>
                <a:cubicBezTo>
                  <a:pt x="180618" y="165550"/>
                  <a:pt x="179189" y="169863"/>
                  <a:pt x="176689" y="174536"/>
                </a:cubicBezTo>
                <a:cubicBezTo>
                  <a:pt x="174189" y="178849"/>
                  <a:pt x="170617" y="182443"/>
                  <a:pt x="166331" y="184959"/>
                </a:cubicBezTo>
                <a:cubicBezTo>
                  <a:pt x="161687" y="187835"/>
                  <a:pt x="157401" y="188554"/>
                  <a:pt x="152043" y="188554"/>
                </a:cubicBezTo>
                <a:cubicBezTo>
                  <a:pt x="147042" y="188554"/>
                  <a:pt x="142399" y="187475"/>
                  <a:pt x="138113" y="184959"/>
                </a:cubicBezTo>
                <a:cubicBezTo>
                  <a:pt x="133469" y="182084"/>
                  <a:pt x="129897" y="179208"/>
                  <a:pt x="127397" y="174536"/>
                </a:cubicBezTo>
                <a:cubicBezTo>
                  <a:pt x="124540" y="170223"/>
                  <a:pt x="123825" y="165550"/>
                  <a:pt x="123825" y="160158"/>
                </a:cubicBezTo>
                <a:cubicBezTo>
                  <a:pt x="123825" y="154767"/>
                  <a:pt x="124540" y="150454"/>
                  <a:pt x="127397" y="145781"/>
                </a:cubicBezTo>
                <a:cubicBezTo>
                  <a:pt x="129897" y="141468"/>
                  <a:pt x="133469" y="138233"/>
                  <a:pt x="138113" y="135357"/>
                </a:cubicBezTo>
                <a:cubicBezTo>
                  <a:pt x="142399" y="132841"/>
                  <a:pt x="147042" y="131763"/>
                  <a:pt x="152043" y="131763"/>
                </a:cubicBezTo>
                <a:close/>
                <a:moveTo>
                  <a:pt x="76200" y="85846"/>
                </a:moveTo>
                <a:cubicBezTo>
                  <a:pt x="74414" y="85846"/>
                  <a:pt x="72986" y="85846"/>
                  <a:pt x="71200" y="86931"/>
                </a:cubicBezTo>
                <a:cubicBezTo>
                  <a:pt x="69771" y="87654"/>
                  <a:pt x="68699" y="89101"/>
                  <a:pt x="67985" y="90548"/>
                </a:cubicBezTo>
                <a:cubicBezTo>
                  <a:pt x="66913" y="91995"/>
                  <a:pt x="66556" y="93442"/>
                  <a:pt x="66556" y="95250"/>
                </a:cubicBezTo>
                <a:cubicBezTo>
                  <a:pt x="66556" y="97059"/>
                  <a:pt x="67271" y="98144"/>
                  <a:pt x="67985" y="99952"/>
                </a:cubicBezTo>
                <a:cubicBezTo>
                  <a:pt x="69056" y="101399"/>
                  <a:pt x="69771" y="102846"/>
                  <a:pt x="71200" y="103569"/>
                </a:cubicBezTo>
                <a:cubicBezTo>
                  <a:pt x="72986" y="104293"/>
                  <a:pt x="74414" y="105016"/>
                  <a:pt x="76200" y="105016"/>
                </a:cubicBezTo>
                <a:cubicBezTo>
                  <a:pt x="77629" y="105016"/>
                  <a:pt x="79415" y="104293"/>
                  <a:pt x="80844" y="103569"/>
                </a:cubicBezTo>
                <a:cubicBezTo>
                  <a:pt x="82272" y="102846"/>
                  <a:pt x="82987" y="101399"/>
                  <a:pt x="84058" y="99952"/>
                </a:cubicBezTo>
                <a:cubicBezTo>
                  <a:pt x="85130" y="98144"/>
                  <a:pt x="85487" y="97059"/>
                  <a:pt x="85487" y="95250"/>
                </a:cubicBezTo>
                <a:cubicBezTo>
                  <a:pt x="85487" y="93442"/>
                  <a:pt x="85130" y="91995"/>
                  <a:pt x="84058" y="90548"/>
                </a:cubicBezTo>
                <a:cubicBezTo>
                  <a:pt x="83344" y="89101"/>
                  <a:pt x="82272" y="87654"/>
                  <a:pt x="80844" y="86931"/>
                </a:cubicBezTo>
                <a:cubicBezTo>
                  <a:pt x="79415" y="85846"/>
                  <a:pt x="77629" y="85846"/>
                  <a:pt x="76200" y="85846"/>
                </a:cubicBezTo>
                <a:close/>
                <a:moveTo>
                  <a:pt x="144412" y="79375"/>
                </a:moveTo>
                <a:lnTo>
                  <a:pt x="158392" y="92011"/>
                </a:lnTo>
                <a:lnTo>
                  <a:pt x="115734" y="139307"/>
                </a:lnTo>
                <a:lnTo>
                  <a:pt x="73077" y="186964"/>
                </a:lnTo>
                <a:lnTo>
                  <a:pt x="58738" y="174328"/>
                </a:lnTo>
                <a:close/>
                <a:moveTo>
                  <a:pt x="76200" y="66675"/>
                </a:moveTo>
                <a:cubicBezTo>
                  <a:pt x="81201" y="66675"/>
                  <a:pt x="85844" y="67760"/>
                  <a:pt x="90131" y="70654"/>
                </a:cubicBezTo>
                <a:cubicBezTo>
                  <a:pt x="94774" y="73186"/>
                  <a:pt x="97631" y="76441"/>
                  <a:pt x="100489" y="81143"/>
                </a:cubicBezTo>
                <a:cubicBezTo>
                  <a:pt x="102989" y="85484"/>
                  <a:pt x="104418" y="90186"/>
                  <a:pt x="104418" y="95250"/>
                </a:cubicBezTo>
                <a:cubicBezTo>
                  <a:pt x="104418" y="100676"/>
                  <a:pt x="103346" y="104655"/>
                  <a:pt x="100489" y="109718"/>
                </a:cubicBezTo>
                <a:cubicBezTo>
                  <a:pt x="97989" y="113697"/>
                  <a:pt x="94774" y="117314"/>
                  <a:pt x="90131" y="119846"/>
                </a:cubicBezTo>
                <a:cubicBezTo>
                  <a:pt x="85844" y="122740"/>
                  <a:pt x="81201" y="123463"/>
                  <a:pt x="76200" y="123463"/>
                </a:cubicBezTo>
                <a:cubicBezTo>
                  <a:pt x="70842" y="123463"/>
                  <a:pt x="66556" y="122740"/>
                  <a:pt x="61913" y="119846"/>
                </a:cubicBezTo>
                <a:cubicBezTo>
                  <a:pt x="57269" y="117314"/>
                  <a:pt x="54055" y="114059"/>
                  <a:pt x="51554" y="109718"/>
                </a:cubicBezTo>
                <a:cubicBezTo>
                  <a:pt x="49054" y="105016"/>
                  <a:pt x="47625" y="100676"/>
                  <a:pt x="47625" y="95250"/>
                </a:cubicBezTo>
                <a:cubicBezTo>
                  <a:pt x="47625" y="90186"/>
                  <a:pt x="49054" y="85484"/>
                  <a:pt x="51554" y="81143"/>
                </a:cubicBezTo>
                <a:cubicBezTo>
                  <a:pt x="54055" y="76441"/>
                  <a:pt x="57269" y="73186"/>
                  <a:pt x="61913" y="70654"/>
                </a:cubicBezTo>
                <a:cubicBezTo>
                  <a:pt x="66556" y="67760"/>
                  <a:pt x="70842" y="66675"/>
                  <a:pt x="76200" y="66675"/>
                </a:cubicBezTo>
                <a:close/>
                <a:moveTo>
                  <a:pt x="113941" y="20387"/>
                </a:moveTo>
                <a:lnTo>
                  <a:pt x="37747" y="67025"/>
                </a:lnTo>
                <a:lnTo>
                  <a:pt x="37747" y="207963"/>
                </a:lnTo>
                <a:lnTo>
                  <a:pt x="190500" y="207963"/>
                </a:lnTo>
                <a:lnTo>
                  <a:pt x="190500" y="67102"/>
                </a:lnTo>
                <a:close/>
                <a:moveTo>
                  <a:pt x="111425" y="0"/>
                </a:moveTo>
                <a:lnTo>
                  <a:pt x="116816" y="0"/>
                </a:lnTo>
                <a:lnTo>
                  <a:pt x="171450" y="33496"/>
                </a:lnTo>
                <a:lnTo>
                  <a:pt x="171450" y="9525"/>
                </a:lnTo>
                <a:lnTo>
                  <a:pt x="190147" y="9525"/>
                </a:lnTo>
                <a:lnTo>
                  <a:pt x="190147" y="44958"/>
                </a:lnTo>
                <a:lnTo>
                  <a:pt x="228241" y="68313"/>
                </a:lnTo>
                <a:lnTo>
                  <a:pt x="228241" y="90130"/>
                </a:lnTo>
                <a:lnTo>
                  <a:pt x="209197" y="78510"/>
                </a:lnTo>
                <a:lnTo>
                  <a:pt x="209197" y="228239"/>
                </a:lnTo>
                <a:lnTo>
                  <a:pt x="199672" y="228239"/>
                </a:lnTo>
                <a:lnTo>
                  <a:pt x="190500" y="228239"/>
                </a:lnTo>
                <a:lnTo>
                  <a:pt x="190500" y="226660"/>
                </a:lnTo>
                <a:lnTo>
                  <a:pt x="114121" y="226660"/>
                </a:lnTo>
                <a:lnTo>
                  <a:pt x="37747" y="226660"/>
                </a:lnTo>
                <a:lnTo>
                  <a:pt x="37747" y="228239"/>
                </a:lnTo>
                <a:lnTo>
                  <a:pt x="28222" y="228239"/>
                </a:lnTo>
                <a:lnTo>
                  <a:pt x="19050" y="228239"/>
                </a:lnTo>
                <a:lnTo>
                  <a:pt x="19050" y="78470"/>
                </a:lnTo>
                <a:lnTo>
                  <a:pt x="0" y="90130"/>
                </a:lnTo>
                <a:lnTo>
                  <a:pt x="0" y="6831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ru-RU"/>
          </a:p>
        </p:txBody>
      </p:sp>
      <p:sp>
        <p:nvSpPr>
          <p:cNvPr id="36" name="Freeform 35">
            <a:extLst>
              <a:ext uri="{FF2B5EF4-FFF2-40B4-BE49-F238E27FC236}">
                <a16:creationId xmlns="" xmlns:a16="http://schemas.microsoft.com/office/drawing/2014/main" id="{5E843017-35FA-574C-9AB1-D1E702C24AA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54085" y="4076111"/>
            <a:ext cx="366587" cy="385890"/>
          </a:xfrm>
          <a:custGeom>
            <a:avLst/>
            <a:gdLst>
              <a:gd name="connsiteX0" fmla="*/ 571197 w 723540"/>
              <a:gd name="connsiteY0" fmla="*/ 723468 h 761640"/>
              <a:gd name="connsiteX1" fmla="*/ 571197 w 723540"/>
              <a:gd name="connsiteY1" fmla="*/ 742554 h 761640"/>
              <a:gd name="connsiteX2" fmla="*/ 628100 w 723540"/>
              <a:gd name="connsiteY2" fmla="*/ 742554 h 761640"/>
              <a:gd name="connsiteX3" fmla="*/ 628100 w 723540"/>
              <a:gd name="connsiteY3" fmla="*/ 723468 h 761640"/>
              <a:gd name="connsiteX4" fmla="*/ 95439 w 723540"/>
              <a:gd name="connsiteY4" fmla="*/ 723468 h 761640"/>
              <a:gd name="connsiteX5" fmla="*/ 95439 w 723540"/>
              <a:gd name="connsiteY5" fmla="*/ 742554 h 761640"/>
              <a:gd name="connsiteX6" fmla="*/ 152343 w 723540"/>
              <a:gd name="connsiteY6" fmla="*/ 742554 h 761640"/>
              <a:gd name="connsiteX7" fmla="*/ 152343 w 723540"/>
              <a:gd name="connsiteY7" fmla="*/ 723468 h 761640"/>
              <a:gd name="connsiteX8" fmla="*/ 76246 w 723540"/>
              <a:gd name="connsiteY8" fmla="*/ 475818 h 761640"/>
              <a:gd name="connsiteX9" fmla="*/ 76246 w 723540"/>
              <a:gd name="connsiteY9" fmla="*/ 533112 h 761640"/>
              <a:gd name="connsiteX10" fmla="*/ 95343 w 723540"/>
              <a:gd name="connsiteY10" fmla="*/ 533112 h 761640"/>
              <a:gd name="connsiteX11" fmla="*/ 95343 w 723540"/>
              <a:gd name="connsiteY11" fmla="*/ 475818 h 761640"/>
              <a:gd name="connsiteX12" fmla="*/ 508830 w 723540"/>
              <a:gd name="connsiteY12" fmla="*/ 408103 h 761640"/>
              <a:gd name="connsiteX13" fmla="*/ 504150 w 723540"/>
              <a:gd name="connsiteY13" fmla="*/ 410987 h 761640"/>
              <a:gd name="connsiteX14" fmla="*/ 485430 w 723540"/>
              <a:gd name="connsiteY14" fmla="*/ 417838 h 761640"/>
              <a:gd name="connsiteX15" fmla="*/ 485430 w 723540"/>
              <a:gd name="connsiteY15" fmla="*/ 456419 h 761640"/>
              <a:gd name="connsiteX16" fmla="*/ 523950 w 723540"/>
              <a:gd name="connsiteY16" fmla="*/ 444160 h 761640"/>
              <a:gd name="connsiteX17" fmla="*/ 536190 w 723540"/>
              <a:gd name="connsiteY17" fmla="*/ 435866 h 761640"/>
              <a:gd name="connsiteX18" fmla="*/ 442950 w 723540"/>
              <a:gd name="connsiteY18" fmla="*/ 408103 h 761640"/>
              <a:gd name="connsiteX19" fmla="*/ 415590 w 723540"/>
              <a:gd name="connsiteY19" fmla="*/ 435506 h 761640"/>
              <a:gd name="connsiteX20" fmla="*/ 428190 w 723540"/>
              <a:gd name="connsiteY20" fmla="*/ 444160 h 761640"/>
              <a:gd name="connsiteX21" fmla="*/ 466350 w 723540"/>
              <a:gd name="connsiteY21" fmla="*/ 456419 h 761640"/>
              <a:gd name="connsiteX22" fmla="*/ 466350 w 723540"/>
              <a:gd name="connsiteY22" fmla="*/ 417838 h 761640"/>
              <a:gd name="connsiteX23" fmla="*/ 447270 w 723540"/>
              <a:gd name="connsiteY23" fmla="*/ 410987 h 761640"/>
              <a:gd name="connsiteX24" fmla="*/ 442950 w 723540"/>
              <a:gd name="connsiteY24" fmla="*/ 408103 h 761640"/>
              <a:gd name="connsiteX25" fmla="*/ 276225 w 723540"/>
              <a:gd name="connsiteY25" fmla="*/ 407987 h 761640"/>
              <a:gd name="connsiteX26" fmla="*/ 295097 w 723540"/>
              <a:gd name="connsiteY26" fmla="*/ 407987 h 761640"/>
              <a:gd name="connsiteX27" fmla="*/ 295097 w 723540"/>
              <a:gd name="connsiteY27" fmla="*/ 419381 h 761640"/>
              <a:gd name="connsiteX28" fmla="*/ 296165 w 723540"/>
              <a:gd name="connsiteY28" fmla="*/ 423298 h 761640"/>
              <a:gd name="connsiteX29" fmla="*/ 298658 w 723540"/>
              <a:gd name="connsiteY29" fmla="*/ 425791 h 761640"/>
              <a:gd name="connsiteX30" fmla="*/ 302575 w 723540"/>
              <a:gd name="connsiteY30" fmla="*/ 426859 h 761640"/>
              <a:gd name="connsiteX31" fmla="*/ 313969 w 723540"/>
              <a:gd name="connsiteY31" fmla="*/ 426859 h 761640"/>
              <a:gd name="connsiteX32" fmla="*/ 313969 w 723540"/>
              <a:gd name="connsiteY32" fmla="*/ 445731 h 761640"/>
              <a:gd name="connsiteX33" fmla="*/ 295097 w 723540"/>
              <a:gd name="connsiteY33" fmla="*/ 445731 h 761640"/>
              <a:gd name="connsiteX34" fmla="*/ 285483 w 723540"/>
              <a:gd name="connsiteY34" fmla="*/ 443238 h 761640"/>
              <a:gd name="connsiteX35" fmla="*/ 278718 w 723540"/>
              <a:gd name="connsiteY35" fmla="*/ 436473 h 761640"/>
              <a:gd name="connsiteX36" fmla="*/ 276225 w 723540"/>
              <a:gd name="connsiteY36" fmla="*/ 426859 h 761640"/>
              <a:gd name="connsiteX37" fmla="*/ 217488 w 723540"/>
              <a:gd name="connsiteY37" fmla="*/ 407987 h 761640"/>
              <a:gd name="connsiteX38" fmla="*/ 236360 w 723540"/>
              <a:gd name="connsiteY38" fmla="*/ 407987 h 761640"/>
              <a:gd name="connsiteX39" fmla="*/ 236360 w 723540"/>
              <a:gd name="connsiteY39" fmla="*/ 419381 h 761640"/>
              <a:gd name="connsiteX40" fmla="*/ 237428 w 723540"/>
              <a:gd name="connsiteY40" fmla="*/ 423298 h 761640"/>
              <a:gd name="connsiteX41" fmla="*/ 240277 w 723540"/>
              <a:gd name="connsiteY41" fmla="*/ 425791 h 761640"/>
              <a:gd name="connsiteX42" fmla="*/ 243837 w 723540"/>
              <a:gd name="connsiteY42" fmla="*/ 426859 h 761640"/>
              <a:gd name="connsiteX43" fmla="*/ 255232 w 723540"/>
              <a:gd name="connsiteY43" fmla="*/ 426859 h 761640"/>
              <a:gd name="connsiteX44" fmla="*/ 255232 w 723540"/>
              <a:gd name="connsiteY44" fmla="*/ 445731 h 761640"/>
              <a:gd name="connsiteX45" fmla="*/ 236360 w 723540"/>
              <a:gd name="connsiteY45" fmla="*/ 445731 h 761640"/>
              <a:gd name="connsiteX46" fmla="*/ 227102 w 723540"/>
              <a:gd name="connsiteY46" fmla="*/ 443238 h 761640"/>
              <a:gd name="connsiteX47" fmla="*/ 219980 w 723540"/>
              <a:gd name="connsiteY47" fmla="*/ 436473 h 761640"/>
              <a:gd name="connsiteX48" fmla="*/ 217488 w 723540"/>
              <a:gd name="connsiteY48" fmla="*/ 426859 h 761640"/>
              <a:gd name="connsiteX49" fmla="*/ 161925 w 723540"/>
              <a:gd name="connsiteY49" fmla="*/ 407987 h 761640"/>
              <a:gd name="connsiteX50" fmla="*/ 180975 w 723540"/>
              <a:gd name="connsiteY50" fmla="*/ 407987 h 761640"/>
              <a:gd name="connsiteX51" fmla="*/ 180975 w 723540"/>
              <a:gd name="connsiteY51" fmla="*/ 419381 h 761640"/>
              <a:gd name="connsiteX52" fmla="*/ 181694 w 723540"/>
              <a:gd name="connsiteY52" fmla="*/ 423298 h 761640"/>
              <a:gd name="connsiteX53" fmla="*/ 184569 w 723540"/>
              <a:gd name="connsiteY53" fmla="*/ 425791 h 761640"/>
              <a:gd name="connsiteX54" fmla="*/ 188523 w 723540"/>
              <a:gd name="connsiteY54" fmla="*/ 426859 h 761640"/>
              <a:gd name="connsiteX55" fmla="*/ 199665 w 723540"/>
              <a:gd name="connsiteY55" fmla="*/ 426859 h 761640"/>
              <a:gd name="connsiteX56" fmla="*/ 199665 w 723540"/>
              <a:gd name="connsiteY56" fmla="*/ 445731 h 761640"/>
              <a:gd name="connsiteX57" fmla="*/ 180975 w 723540"/>
              <a:gd name="connsiteY57" fmla="*/ 445731 h 761640"/>
              <a:gd name="connsiteX58" fmla="*/ 171270 w 723540"/>
              <a:gd name="connsiteY58" fmla="*/ 443238 h 761640"/>
              <a:gd name="connsiteX59" fmla="*/ 164441 w 723540"/>
              <a:gd name="connsiteY59" fmla="*/ 436473 h 761640"/>
              <a:gd name="connsiteX60" fmla="*/ 161925 w 723540"/>
              <a:gd name="connsiteY60" fmla="*/ 426859 h 761640"/>
              <a:gd name="connsiteX61" fmla="*/ 532230 w 723540"/>
              <a:gd name="connsiteY61" fmla="*/ 371685 h 761640"/>
              <a:gd name="connsiteX62" fmla="*/ 525390 w 723540"/>
              <a:gd name="connsiteY62" fmla="*/ 390074 h 761640"/>
              <a:gd name="connsiteX63" fmla="*/ 522150 w 723540"/>
              <a:gd name="connsiteY63" fmla="*/ 394762 h 761640"/>
              <a:gd name="connsiteX64" fmla="*/ 549870 w 723540"/>
              <a:gd name="connsiteY64" fmla="*/ 422165 h 761640"/>
              <a:gd name="connsiteX65" fmla="*/ 558150 w 723540"/>
              <a:gd name="connsiteY65" fmla="*/ 409906 h 761640"/>
              <a:gd name="connsiteX66" fmla="*/ 570390 w 723540"/>
              <a:gd name="connsiteY66" fmla="*/ 371685 h 761640"/>
              <a:gd name="connsiteX67" fmla="*/ 381030 w 723540"/>
              <a:gd name="connsiteY67" fmla="*/ 371685 h 761640"/>
              <a:gd name="connsiteX68" fmla="*/ 393270 w 723540"/>
              <a:gd name="connsiteY68" fmla="*/ 409184 h 761640"/>
              <a:gd name="connsiteX69" fmla="*/ 402270 w 723540"/>
              <a:gd name="connsiteY69" fmla="*/ 421804 h 761640"/>
              <a:gd name="connsiteX70" fmla="*/ 429270 w 723540"/>
              <a:gd name="connsiteY70" fmla="*/ 394762 h 761640"/>
              <a:gd name="connsiteX71" fmla="*/ 426390 w 723540"/>
              <a:gd name="connsiteY71" fmla="*/ 390074 h 761640"/>
              <a:gd name="connsiteX72" fmla="*/ 419550 w 723540"/>
              <a:gd name="connsiteY72" fmla="*/ 371685 h 761640"/>
              <a:gd name="connsiteX73" fmla="*/ 276225 w 723540"/>
              <a:gd name="connsiteY73" fmla="*/ 352425 h 761640"/>
              <a:gd name="connsiteX74" fmla="*/ 295097 w 723540"/>
              <a:gd name="connsiteY74" fmla="*/ 352425 h 761640"/>
              <a:gd name="connsiteX75" fmla="*/ 295097 w 723540"/>
              <a:gd name="connsiteY75" fmla="*/ 363674 h 761640"/>
              <a:gd name="connsiteX76" fmla="*/ 296165 w 723540"/>
              <a:gd name="connsiteY76" fmla="*/ 367665 h 761640"/>
              <a:gd name="connsiteX77" fmla="*/ 298658 w 723540"/>
              <a:gd name="connsiteY77" fmla="*/ 370568 h 761640"/>
              <a:gd name="connsiteX78" fmla="*/ 302575 w 723540"/>
              <a:gd name="connsiteY78" fmla="*/ 371656 h 761640"/>
              <a:gd name="connsiteX79" fmla="*/ 313969 w 723540"/>
              <a:gd name="connsiteY79" fmla="*/ 371656 h 761640"/>
              <a:gd name="connsiteX80" fmla="*/ 313969 w 723540"/>
              <a:gd name="connsiteY80" fmla="*/ 390162 h 761640"/>
              <a:gd name="connsiteX81" fmla="*/ 295097 w 723540"/>
              <a:gd name="connsiteY81" fmla="*/ 390162 h 761640"/>
              <a:gd name="connsiteX82" fmla="*/ 285483 w 723540"/>
              <a:gd name="connsiteY82" fmla="*/ 387622 h 761640"/>
              <a:gd name="connsiteX83" fmla="*/ 278718 w 723540"/>
              <a:gd name="connsiteY83" fmla="*/ 381091 h 761640"/>
              <a:gd name="connsiteX84" fmla="*/ 276225 w 723540"/>
              <a:gd name="connsiteY84" fmla="*/ 371656 h 761640"/>
              <a:gd name="connsiteX85" fmla="*/ 217488 w 723540"/>
              <a:gd name="connsiteY85" fmla="*/ 352425 h 761640"/>
              <a:gd name="connsiteX86" fmla="*/ 236360 w 723540"/>
              <a:gd name="connsiteY86" fmla="*/ 352425 h 761640"/>
              <a:gd name="connsiteX87" fmla="*/ 236360 w 723540"/>
              <a:gd name="connsiteY87" fmla="*/ 363674 h 761640"/>
              <a:gd name="connsiteX88" fmla="*/ 237428 w 723540"/>
              <a:gd name="connsiteY88" fmla="*/ 367665 h 761640"/>
              <a:gd name="connsiteX89" fmla="*/ 240277 w 723540"/>
              <a:gd name="connsiteY89" fmla="*/ 370568 h 761640"/>
              <a:gd name="connsiteX90" fmla="*/ 243837 w 723540"/>
              <a:gd name="connsiteY90" fmla="*/ 371656 h 761640"/>
              <a:gd name="connsiteX91" fmla="*/ 255232 w 723540"/>
              <a:gd name="connsiteY91" fmla="*/ 371656 h 761640"/>
              <a:gd name="connsiteX92" fmla="*/ 255232 w 723540"/>
              <a:gd name="connsiteY92" fmla="*/ 390162 h 761640"/>
              <a:gd name="connsiteX93" fmla="*/ 236360 w 723540"/>
              <a:gd name="connsiteY93" fmla="*/ 390162 h 761640"/>
              <a:gd name="connsiteX94" fmla="*/ 227102 w 723540"/>
              <a:gd name="connsiteY94" fmla="*/ 387622 h 761640"/>
              <a:gd name="connsiteX95" fmla="*/ 219980 w 723540"/>
              <a:gd name="connsiteY95" fmla="*/ 381091 h 761640"/>
              <a:gd name="connsiteX96" fmla="*/ 217488 w 723540"/>
              <a:gd name="connsiteY96" fmla="*/ 371656 h 761640"/>
              <a:gd name="connsiteX97" fmla="*/ 161925 w 723540"/>
              <a:gd name="connsiteY97" fmla="*/ 352425 h 761640"/>
              <a:gd name="connsiteX98" fmla="*/ 180975 w 723540"/>
              <a:gd name="connsiteY98" fmla="*/ 352425 h 761640"/>
              <a:gd name="connsiteX99" fmla="*/ 180975 w 723540"/>
              <a:gd name="connsiteY99" fmla="*/ 363674 h 761640"/>
              <a:gd name="connsiteX100" fmla="*/ 181694 w 723540"/>
              <a:gd name="connsiteY100" fmla="*/ 367665 h 761640"/>
              <a:gd name="connsiteX101" fmla="*/ 184569 w 723540"/>
              <a:gd name="connsiteY101" fmla="*/ 370568 h 761640"/>
              <a:gd name="connsiteX102" fmla="*/ 188523 w 723540"/>
              <a:gd name="connsiteY102" fmla="*/ 371656 h 761640"/>
              <a:gd name="connsiteX103" fmla="*/ 199665 w 723540"/>
              <a:gd name="connsiteY103" fmla="*/ 371656 h 761640"/>
              <a:gd name="connsiteX104" fmla="*/ 199665 w 723540"/>
              <a:gd name="connsiteY104" fmla="*/ 390162 h 761640"/>
              <a:gd name="connsiteX105" fmla="*/ 180975 w 723540"/>
              <a:gd name="connsiteY105" fmla="*/ 390162 h 761640"/>
              <a:gd name="connsiteX106" fmla="*/ 171270 w 723540"/>
              <a:gd name="connsiteY106" fmla="*/ 387622 h 761640"/>
              <a:gd name="connsiteX107" fmla="*/ 164441 w 723540"/>
              <a:gd name="connsiteY107" fmla="*/ 381091 h 761640"/>
              <a:gd name="connsiteX108" fmla="*/ 161925 w 723540"/>
              <a:gd name="connsiteY108" fmla="*/ 371656 h 761640"/>
              <a:gd name="connsiteX109" fmla="*/ 475710 w 723540"/>
              <a:gd name="connsiteY109" fmla="*/ 323730 h 761640"/>
              <a:gd name="connsiteX110" fmla="*/ 456630 w 723540"/>
              <a:gd name="connsiteY110" fmla="*/ 329138 h 761640"/>
              <a:gd name="connsiteX111" fmla="*/ 442950 w 723540"/>
              <a:gd name="connsiteY111" fmla="*/ 342840 h 761640"/>
              <a:gd name="connsiteX112" fmla="*/ 437910 w 723540"/>
              <a:gd name="connsiteY112" fmla="*/ 361950 h 761640"/>
              <a:gd name="connsiteX113" fmla="*/ 442950 w 723540"/>
              <a:gd name="connsiteY113" fmla="*/ 381060 h 761640"/>
              <a:gd name="connsiteX114" fmla="*/ 456630 w 723540"/>
              <a:gd name="connsiteY114" fmla="*/ 394762 h 761640"/>
              <a:gd name="connsiteX115" fmla="*/ 475710 w 723540"/>
              <a:gd name="connsiteY115" fmla="*/ 399810 h 761640"/>
              <a:gd name="connsiteX116" fmla="*/ 494790 w 723540"/>
              <a:gd name="connsiteY116" fmla="*/ 394762 h 761640"/>
              <a:gd name="connsiteX117" fmla="*/ 508830 w 723540"/>
              <a:gd name="connsiteY117" fmla="*/ 381060 h 761640"/>
              <a:gd name="connsiteX118" fmla="*/ 513870 w 723540"/>
              <a:gd name="connsiteY118" fmla="*/ 361950 h 761640"/>
              <a:gd name="connsiteX119" fmla="*/ 508830 w 723540"/>
              <a:gd name="connsiteY119" fmla="*/ 342840 h 761640"/>
              <a:gd name="connsiteX120" fmla="*/ 494790 w 723540"/>
              <a:gd name="connsiteY120" fmla="*/ 329138 h 761640"/>
              <a:gd name="connsiteX121" fmla="*/ 475710 w 723540"/>
              <a:gd name="connsiteY121" fmla="*/ 323730 h 761640"/>
              <a:gd name="connsiteX122" fmla="*/ 549510 w 723540"/>
              <a:gd name="connsiteY122" fmla="*/ 301735 h 761640"/>
              <a:gd name="connsiteX123" fmla="*/ 522150 w 723540"/>
              <a:gd name="connsiteY123" fmla="*/ 328778 h 761640"/>
              <a:gd name="connsiteX124" fmla="*/ 525390 w 723540"/>
              <a:gd name="connsiteY124" fmla="*/ 333465 h 761640"/>
              <a:gd name="connsiteX125" fmla="*/ 532230 w 723540"/>
              <a:gd name="connsiteY125" fmla="*/ 352575 h 761640"/>
              <a:gd name="connsiteX126" fmla="*/ 570390 w 723540"/>
              <a:gd name="connsiteY126" fmla="*/ 352575 h 761640"/>
              <a:gd name="connsiteX127" fmla="*/ 558150 w 723540"/>
              <a:gd name="connsiteY127" fmla="*/ 314355 h 761640"/>
              <a:gd name="connsiteX128" fmla="*/ 549510 w 723540"/>
              <a:gd name="connsiteY128" fmla="*/ 301735 h 761640"/>
              <a:gd name="connsiteX129" fmla="*/ 402270 w 723540"/>
              <a:gd name="connsiteY129" fmla="*/ 301735 h 761640"/>
              <a:gd name="connsiteX130" fmla="*/ 393270 w 723540"/>
              <a:gd name="connsiteY130" fmla="*/ 314355 h 761640"/>
              <a:gd name="connsiteX131" fmla="*/ 381030 w 723540"/>
              <a:gd name="connsiteY131" fmla="*/ 352575 h 761640"/>
              <a:gd name="connsiteX132" fmla="*/ 419550 w 723540"/>
              <a:gd name="connsiteY132" fmla="*/ 352575 h 761640"/>
              <a:gd name="connsiteX133" fmla="*/ 426390 w 723540"/>
              <a:gd name="connsiteY133" fmla="*/ 333465 h 761640"/>
              <a:gd name="connsiteX134" fmla="*/ 429270 w 723540"/>
              <a:gd name="connsiteY134" fmla="*/ 328778 h 761640"/>
              <a:gd name="connsiteX135" fmla="*/ 276225 w 723540"/>
              <a:gd name="connsiteY135" fmla="*/ 295275 h 761640"/>
              <a:gd name="connsiteX136" fmla="*/ 295097 w 723540"/>
              <a:gd name="connsiteY136" fmla="*/ 295275 h 761640"/>
              <a:gd name="connsiteX137" fmla="*/ 295097 w 723540"/>
              <a:gd name="connsiteY137" fmla="*/ 306669 h 761640"/>
              <a:gd name="connsiteX138" fmla="*/ 296165 w 723540"/>
              <a:gd name="connsiteY138" fmla="*/ 310230 h 761640"/>
              <a:gd name="connsiteX139" fmla="*/ 298658 w 723540"/>
              <a:gd name="connsiteY139" fmla="*/ 313079 h 761640"/>
              <a:gd name="connsiteX140" fmla="*/ 302575 w 723540"/>
              <a:gd name="connsiteY140" fmla="*/ 314147 h 761640"/>
              <a:gd name="connsiteX141" fmla="*/ 313969 w 723540"/>
              <a:gd name="connsiteY141" fmla="*/ 314147 h 761640"/>
              <a:gd name="connsiteX142" fmla="*/ 313969 w 723540"/>
              <a:gd name="connsiteY142" fmla="*/ 333019 h 761640"/>
              <a:gd name="connsiteX143" fmla="*/ 295097 w 723540"/>
              <a:gd name="connsiteY143" fmla="*/ 333019 h 761640"/>
              <a:gd name="connsiteX144" fmla="*/ 285483 w 723540"/>
              <a:gd name="connsiteY144" fmla="*/ 330526 h 761640"/>
              <a:gd name="connsiteX145" fmla="*/ 278718 w 723540"/>
              <a:gd name="connsiteY145" fmla="*/ 323405 h 761640"/>
              <a:gd name="connsiteX146" fmla="*/ 276225 w 723540"/>
              <a:gd name="connsiteY146" fmla="*/ 314147 h 761640"/>
              <a:gd name="connsiteX147" fmla="*/ 217488 w 723540"/>
              <a:gd name="connsiteY147" fmla="*/ 295275 h 761640"/>
              <a:gd name="connsiteX148" fmla="*/ 236360 w 723540"/>
              <a:gd name="connsiteY148" fmla="*/ 295275 h 761640"/>
              <a:gd name="connsiteX149" fmla="*/ 236360 w 723540"/>
              <a:gd name="connsiteY149" fmla="*/ 306669 h 761640"/>
              <a:gd name="connsiteX150" fmla="*/ 237428 w 723540"/>
              <a:gd name="connsiteY150" fmla="*/ 310230 h 761640"/>
              <a:gd name="connsiteX151" fmla="*/ 240277 w 723540"/>
              <a:gd name="connsiteY151" fmla="*/ 313079 h 761640"/>
              <a:gd name="connsiteX152" fmla="*/ 243837 w 723540"/>
              <a:gd name="connsiteY152" fmla="*/ 314147 h 761640"/>
              <a:gd name="connsiteX153" fmla="*/ 255232 w 723540"/>
              <a:gd name="connsiteY153" fmla="*/ 314147 h 761640"/>
              <a:gd name="connsiteX154" fmla="*/ 255232 w 723540"/>
              <a:gd name="connsiteY154" fmla="*/ 333019 h 761640"/>
              <a:gd name="connsiteX155" fmla="*/ 236360 w 723540"/>
              <a:gd name="connsiteY155" fmla="*/ 333019 h 761640"/>
              <a:gd name="connsiteX156" fmla="*/ 227102 w 723540"/>
              <a:gd name="connsiteY156" fmla="*/ 330526 h 761640"/>
              <a:gd name="connsiteX157" fmla="*/ 219980 w 723540"/>
              <a:gd name="connsiteY157" fmla="*/ 323405 h 761640"/>
              <a:gd name="connsiteX158" fmla="*/ 217488 w 723540"/>
              <a:gd name="connsiteY158" fmla="*/ 314147 h 761640"/>
              <a:gd name="connsiteX159" fmla="*/ 161925 w 723540"/>
              <a:gd name="connsiteY159" fmla="*/ 295275 h 761640"/>
              <a:gd name="connsiteX160" fmla="*/ 180975 w 723540"/>
              <a:gd name="connsiteY160" fmla="*/ 295275 h 761640"/>
              <a:gd name="connsiteX161" fmla="*/ 180975 w 723540"/>
              <a:gd name="connsiteY161" fmla="*/ 306669 h 761640"/>
              <a:gd name="connsiteX162" fmla="*/ 181694 w 723540"/>
              <a:gd name="connsiteY162" fmla="*/ 310230 h 761640"/>
              <a:gd name="connsiteX163" fmla="*/ 184569 w 723540"/>
              <a:gd name="connsiteY163" fmla="*/ 313079 h 761640"/>
              <a:gd name="connsiteX164" fmla="*/ 188523 w 723540"/>
              <a:gd name="connsiteY164" fmla="*/ 314147 h 761640"/>
              <a:gd name="connsiteX165" fmla="*/ 199665 w 723540"/>
              <a:gd name="connsiteY165" fmla="*/ 314147 h 761640"/>
              <a:gd name="connsiteX166" fmla="*/ 199665 w 723540"/>
              <a:gd name="connsiteY166" fmla="*/ 333019 h 761640"/>
              <a:gd name="connsiteX167" fmla="*/ 180975 w 723540"/>
              <a:gd name="connsiteY167" fmla="*/ 333019 h 761640"/>
              <a:gd name="connsiteX168" fmla="*/ 171270 w 723540"/>
              <a:gd name="connsiteY168" fmla="*/ 330526 h 761640"/>
              <a:gd name="connsiteX169" fmla="*/ 164441 w 723540"/>
              <a:gd name="connsiteY169" fmla="*/ 323405 h 761640"/>
              <a:gd name="connsiteX170" fmla="*/ 161925 w 723540"/>
              <a:gd name="connsiteY170" fmla="*/ 314147 h 761640"/>
              <a:gd name="connsiteX171" fmla="*/ 485430 w 723540"/>
              <a:gd name="connsiteY171" fmla="*/ 267121 h 761640"/>
              <a:gd name="connsiteX172" fmla="*/ 485430 w 723540"/>
              <a:gd name="connsiteY172" fmla="*/ 305701 h 761640"/>
              <a:gd name="connsiteX173" fmla="*/ 504150 w 723540"/>
              <a:gd name="connsiteY173" fmla="*/ 312552 h 761640"/>
              <a:gd name="connsiteX174" fmla="*/ 508830 w 723540"/>
              <a:gd name="connsiteY174" fmla="*/ 315437 h 761640"/>
              <a:gd name="connsiteX175" fmla="*/ 536190 w 723540"/>
              <a:gd name="connsiteY175" fmla="*/ 288034 h 761640"/>
              <a:gd name="connsiteX176" fmla="*/ 523230 w 723540"/>
              <a:gd name="connsiteY176" fmla="*/ 279380 h 761640"/>
              <a:gd name="connsiteX177" fmla="*/ 485430 w 723540"/>
              <a:gd name="connsiteY177" fmla="*/ 267121 h 761640"/>
              <a:gd name="connsiteX178" fmla="*/ 466350 w 723540"/>
              <a:gd name="connsiteY178" fmla="*/ 267121 h 761640"/>
              <a:gd name="connsiteX179" fmla="*/ 428190 w 723540"/>
              <a:gd name="connsiteY179" fmla="*/ 279380 h 761640"/>
              <a:gd name="connsiteX180" fmla="*/ 415590 w 723540"/>
              <a:gd name="connsiteY180" fmla="*/ 288034 h 761640"/>
              <a:gd name="connsiteX181" fmla="*/ 442950 w 723540"/>
              <a:gd name="connsiteY181" fmla="*/ 315437 h 761640"/>
              <a:gd name="connsiteX182" fmla="*/ 447270 w 723540"/>
              <a:gd name="connsiteY182" fmla="*/ 312552 h 761640"/>
              <a:gd name="connsiteX183" fmla="*/ 466350 w 723540"/>
              <a:gd name="connsiteY183" fmla="*/ 305701 h 761640"/>
              <a:gd name="connsiteX184" fmla="*/ 475710 w 723540"/>
              <a:gd name="connsiteY184" fmla="*/ 247650 h 761640"/>
              <a:gd name="connsiteX185" fmla="*/ 532950 w 723540"/>
              <a:gd name="connsiteY185" fmla="*/ 262794 h 761640"/>
              <a:gd name="connsiteX186" fmla="*/ 574710 w 723540"/>
              <a:gd name="connsiteY186" fmla="*/ 304620 h 761640"/>
              <a:gd name="connsiteX187" fmla="*/ 590190 w 723540"/>
              <a:gd name="connsiteY187" fmla="*/ 361950 h 761640"/>
              <a:gd name="connsiteX188" fmla="*/ 574710 w 723540"/>
              <a:gd name="connsiteY188" fmla="*/ 418920 h 761640"/>
              <a:gd name="connsiteX189" fmla="*/ 532950 w 723540"/>
              <a:gd name="connsiteY189" fmla="*/ 460746 h 761640"/>
              <a:gd name="connsiteX190" fmla="*/ 475710 w 723540"/>
              <a:gd name="connsiteY190" fmla="*/ 475890 h 761640"/>
              <a:gd name="connsiteX191" fmla="*/ 475350 w 723540"/>
              <a:gd name="connsiteY191" fmla="*/ 475890 h 761640"/>
              <a:gd name="connsiteX192" fmla="*/ 418470 w 723540"/>
              <a:gd name="connsiteY192" fmla="*/ 460746 h 761640"/>
              <a:gd name="connsiteX193" fmla="*/ 376710 w 723540"/>
              <a:gd name="connsiteY193" fmla="*/ 419280 h 761640"/>
              <a:gd name="connsiteX194" fmla="*/ 361950 w 723540"/>
              <a:gd name="connsiteY194" fmla="*/ 362671 h 761640"/>
              <a:gd name="connsiteX195" fmla="*/ 361950 w 723540"/>
              <a:gd name="connsiteY195" fmla="*/ 361950 h 761640"/>
              <a:gd name="connsiteX196" fmla="*/ 377070 w 723540"/>
              <a:gd name="connsiteY196" fmla="*/ 304620 h 761640"/>
              <a:gd name="connsiteX197" fmla="*/ 418830 w 723540"/>
              <a:gd name="connsiteY197" fmla="*/ 262794 h 761640"/>
              <a:gd name="connsiteX198" fmla="*/ 475710 w 723540"/>
              <a:gd name="connsiteY198" fmla="*/ 247650 h 761640"/>
              <a:gd name="connsiteX199" fmla="*/ 76246 w 723540"/>
              <a:gd name="connsiteY199" fmla="*/ 190428 h 761640"/>
              <a:gd name="connsiteX200" fmla="*/ 76246 w 723540"/>
              <a:gd name="connsiteY200" fmla="*/ 247722 h 761640"/>
              <a:gd name="connsiteX201" fmla="*/ 95343 w 723540"/>
              <a:gd name="connsiteY201" fmla="*/ 247722 h 761640"/>
              <a:gd name="connsiteX202" fmla="*/ 95343 w 723540"/>
              <a:gd name="connsiteY202" fmla="*/ 190428 h 761640"/>
              <a:gd name="connsiteX203" fmla="*/ 95343 w 723540"/>
              <a:gd name="connsiteY203" fmla="*/ 95298 h 761640"/>
              <a:gd name="connsiteX204" fmla="*/ 95343 w 723540"/>
              <a:gd name="connsiteY204" fmla="*/ 171330 h 761640"/>
              <a:gd name="connsiteX205" fmla="*/ 114439 w 723540"/>
              <a:gd name="connsiteY205" fmla="*/ 171330 h 761640"/>
              <a:gd name="connsiteX206" fmla="*/ 114439 w 723540"/>
              <a:gd name="connsiteY206" fmla="*/ 266820 h 761640"/>
              <a:gd name="connsiteX207" fmla="*/ 95343 w 723540"/>
              <a:gd name="connsiteY207" fmla="*/ 266820 h 761640"/>
              <a:gd name="connsiteX208" fmla="*/ 95343 w 723540"/>
              <a:gd name="connsiteY208" fmla="*/ 457080 h 761640"/>
              <a:gd name="connsiteX209" fmla="*/ 114439 w 723540"/>
              <a:gd name="connsiteY209" fmla="*/ 457080 h 761640"/>
              <a:gd name="connsiteX210" fmla="*/ 114439 w 723540"/>
              <a:gd name="connsiteY210" fmla="*/ 552210 h 761640"/>
              <a:gd name="connsiteX211" fmla="*/ 95343 w 723540"/>
              <a:gd name="connsiteY211" fmla="*/ 552210 h 761640"/>
              <a:gd name="connsiteX212" fmla="*/ 95343 w 723540"/>
              <a:gd name="connsiteY212" fmla="*/ 628602 h 761640"/>
              <a:gd name="connsiteX213" fmla="*/ 628243 w 723540"/>
              <a:gd name="connsiteY213" fmla="*/ 628602 h 761640"/>
              <a:gd name="connsiteX214" fmla="*/ 628243 w 723540"/>
              <a:gd name="connsiteY214" fmla="*/ 95298 h 761640"/>
              <a:gd name="connsiteX215" fmla="*/ 76246 w 723540"/>
              <a:gd name="connsiteY215" fmla="*/ 76200 h 761640"/>
              <a:gd name="connsiteX216" fmla="*/ 647340 w 723540"/>
              <a:gd name="connsiteY216" fmla="*/ 76200 h 761640"/>
              <a:gd name="connsiteX217" fmla="*/ 647340 w 723540"/>
              <a:gd name="connsiteY217" fmla="*/ 647340 h 761640"/>
              <a:gd name="connsiteX218" fmla="*/ 76246 w 723540"/>
              <a:gd name="connsiteY218" fmla="*/ 647340 h 761640"/>
              <a:gd name="connsiteX219" fmla="*/ 76246 w 723540"/>
              <a:gd name="connsiteY219" fmla="*/ 552210 h 761640"/>
              <a:gd name="connsiteX220" fmla="*/ 57150 w 723540"/>
              <a:gd name="connsiteY220" fmla="*/ 552210 h 761640"/>
              <a:gd name="connsiteX221" fmla="*/ 57150 w 723540"/>
              <a:gd name="connsiteY221" fmla="*/ 457080 h 761640"/>
              <a:gd name="connsiteX222" fmla="*/ 76246 w 723540"/>
              <a:gd name="connsiteY222" fmla="*/ 457080 h 761640"/>
              <a:gd name="connsiteX223" fmla="*/ 76246 w 723540"/>
              <a:gd name="connsiteY223" fmla="*/ 266820 h 761640"/>
              <a:gd name="connsiteX224" fmla="*/ 57150 w 723540"/>
              <a:gd name="connsiteY224" fmla="*/ 266820 h 761640"/>
              <a:gd name="connsiteX225" fmla="*/ 57150 w 723540"/>
              <a:gd name="connsiteY225" fmla="*/ 171330 h 761640"/>
              <a:gd name="connsiteX226" fmla="*/ 76246 w 723540"/>
              <a:gd name="connsiteY226" fmla="*/ 171330 h 761640"/>
              <a:gd name="connsiteX227" fmla="*/ 57264 w 723540"/>
              <a:gd name="connsiteY227" fmla="*/ 19086 h 761640"/>
              <a:gd name="connsiteX228" fmla="*/ 38176 w 723540"/>
              <a:gd name="connsiteY228" fmla="*/ 24128 h 761640"/>
              <a:gd name="connsiteX229" fmla="*/ 24130 w 723540"/>
              <a:gd name="connsiteY229" fmla="*/ 38172 h 761640"/>
              <a:gd name="connsiteX230" fmla="*/ 19088 w 723540"/>
              <a:gd name="connsiteY230" fmla="*/ 57258 h 761640"/>
              <a:gd name="connsiteX231" fmla="*/ 19088 w 723540"/>
              <a:gd name="connsiteY231" fmla="*/ 666210 h 761640"/>
              <a:gd name="connsiteX232" fmla="*/ 24130 w 723540"/>
              <a:gd name="connsiteY232" fmla="*/ 685296 h 761640"/>
              <a:gd name="connsiteX233" fmla="*/ 38176 w 723540"/>
              <a:gd name="connsiteY233" fmla="*/ 699340 h 761640"/>
              <a:gd name="connsiteX234" fmla="*/ 57264 w 723540"/>
              <a:gd name="connsiteY234" fmla="*/ 704382 h 761640"/>
              <a:gd name="connsiteX235" fmla="*/ 666276 w 723540"/>
              <a:gd name="connsiteY235" fmla="*/ 704382 h 761640"/>
              <a:gd name="connsiteX236" fmla="*/ 685364 w 723540"/>
              <a:gd name="connsiteY236" fmla="*/ 699340 h 761640"/>
              <a:gd name="connsiteX237" fmla="*/ 699410 w 723540"/>
              <a:gd name="connsiteY237" fmla="*/ 685296 h 761640"/>
              <a:gd name="connsiteX238" fmla="*/ 704452 w 723540"/>
              <a:gd name="connsiteY238" fmla="*/ 666210 h 761640"/>
              <a:gd name="connsiteX239" fmla="*/ 704452 w 723540"/>
              <a:gd name="connsiteY239" fmla="*/ 57258 h 761640"/>
              <a:gd name="connsiteX240" fmla="*/ 699410 w 723540"/>
              <a:gd name="connsiteY240" fmla="*/ 38172 h 761640"/>
              <a:gd name="connsiteX241" fmla="*/ 685364 w 723540"/>
              <a:gd name="connsiteY241" fmla="*/ 24128 h 761640"/>
              <a:gd name="connsiteX242" fmla="*/ 666276 w 723540"/>
              <a:gd name="connsiteY242" fmla="*/ 19086 h 761640"/>
              <a:gd name="connsiteX243" fmla="*/ 57264 w 723540"/>
              <a:gd name="connsiteY243" fmla="*/ 0 h 761640"/>
              <a:gd name="connsiteX244" fmla="*/ 666276 w 723540"/>
              <a:gd name="connsiteY244" fmla="*/ 0 h 761640"/>
              <a:gd name="connsiteX245" fmla="*/ 694728 w 723540"/>
              <a:gd name="connsiteY245" fmla="*/ 7562 h 761640"/>
              <a:gd name="connsiteX246" fmla="*/ 715977 w 723540"/>
              <a:gd name="connsiteY246" fmla="*/ 28809 h 761640"/>
              <a:gd name="connsiteX247" fmla="*/ 723540 w 723540"/>
              <a:gd name="connsiteY247" fmla="*/ 57258 h 761640"/>
              <a:gd name="connsiteX248" fmla="*/ 723540 w 723540"/>
              <a:gd name="connsiteY248" fmla="*/ 666210 h 761640"/>
              <a:gd name="connsiteX249" fmla="*/ 715977 w 723540"/>
              <a:gd name="connsiteY249" fmla="*/ 695019 h 761640"/>
              <a:gd name="connsiteX250" fmla="*/ 694728 w 723540"/>
              <a:gd name="connsiteY250" fmla="*/ 715906 h 761640"/>
              <a:gd name="connsiteX251" fmla="*/ 666276 w 723540"/>
              <a:gd name="connsiteY251" fmla="*/ 723468 h 761640"/>
              <a:gd name="connsiteX252" fmla="*/ 647188 w 723540"/>
              <a:gd name="connsiteY252" fmla="*/ 723468 h 761640"/>
              <a:gd name="connsiteX253" fmla="*/ 647188 w 723540"/>
              <a:gd name="connsiteY253" fmla="*/ 761640 h 761640"/>
              <a:gd name="connsiteX254" fmla="*/ 552109 w 723540"/>
              <a:gd name="connsiteY254" fmla="*/ 761640 h 761640"/>
              <a:gd name="connsiteX255" fmla="*/ 552109 w 723540"/>
              <a:gd name="connsiteY255" fmla="*/ 723468 h 761640"/>
              <a:gd name="connsiteX256" fmla="*/ 171431 w 723540"/>
              <a:gd name="connsiteY256" fmla="*/ 723468 h 761640"/>
              <a:gd name="connsiteX257" fmla="*/ 171431 w 723540"/>
              <a:gd name="connsiteY257" fmla="*/ 761640 h 761640"/>
              <a:gd name="connsiteX258" fmla="*/ 76352 w 723540"/>
              <a:gd name="connsiteY258" fmla="*/ 761640 h 761640"/>
              <a:gd name="connsiteX259" fmla="*/ 76352 w 723540"/>
              <a:gd name="connsiteY259" fmla="*/ 723468 h 761640"/>
              <a:gd name="connsiteX260" fmla="*/ 57264 w 723540"/>
              <a:gd name="connsiteY260" fmla="*/ 723468 h 761640"/>
              <a:gd name="connsiteX261" fmla="*/ 28812 w 723540"/>
              <a:gd name="connsiteY261" fmla="*/ 715906 h 761640"/>
              <a:gd name="connsiteX262" fmla="*/ 7563 w 723540"/>
              <a:gd name="connsiteY262" fmla="*/ 695019 h 761640"/>
              <a:gd name="connsiteX263" fmla="*/ 0 w 723540"/>
              <a:gd name="connsiteY263" fmla="*/ 666210 h 761640"/>
              <a:gd name="connsiteX264" fmla="*/ 0 w 723540"/>
              <a:gd name="connsiteY264" fmla="*/ 57258 h 761640"/>
              <a:gd name="connsiteX265" fmla="*/ 7563 w 723540"/>
              <a:gd name="connsiteY265" fmla="*/ 28809 h 761640"/>
              <a:gd name="connsiteX266" fmla="*/ 28812 w 723540"/>
              <a:gd name="connsiteY266" fmla="*/ 7562 h 761640"/>
              <a:gd name="connsiteX267" fmla="*/ 57264 w 723540"/>
              <a:gd name="connsiteY267" fmla="*/ 0 h 761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</a:cxnLst>
            <a:rect l="l" t="t" r="r" b="b"/>
            <a:pathLst>
              <a:path w="723540" h="761640">
                <a:moveTo>
                  <a:pt x="571197" y="723468"/>
                </a:moveTo>
                <a:lnTo>
                  <a:pt x="571197" y="742554"/>
                </a:lnTo>
                <a:lnTo>
                  <a:pt x="628100" y="742554"/>
                </a:lnTo>
                <a:lnTo>
                  <a:pt x="628100" y="723468"/>
                </a:lnTo>
                <a:close/>
                <a:moveTo>
                  <a:pt x="95439" y="723468"/>
                </a:moveTo>
                <a:lnTo>
                  <a:pt x="95439" y="742554"/>
                </a:lnTo>
                <a:lnTo>
                  <a:pt x="152343" y="742554"/>
                </a:lnTo>
                <a:lnTo>
                  <a:pt x="152343" y="723468"/>
                </a:lnTo>
                <a:close/>
                <a:moveTo>
                  <a:pt x="76246" y="475818"/>
                </a:moveTo>
                <a:lnTo>
                  <a:pt x="76246" y="533112"/>
                </a:lnTo>
                <a:lnTo>
                  <a:pt x="95343" y="533112"/>
                </a:lnTo>
                <a:lnTo>
                  <a:pt x="95343" y="475818"/>
                </a:lnTo>
                <a:close/>
                <a:moveTo>
                  <a:pt x="508830" y="408103"/>
                </a:moveTo>
                <a:cubicBezTo>
                  <a:pt x="507390" y="409184"/>
                  <a:pt x="505950" y="410266"/>
                  <a:pt x="504150" y="410987"/>
                </a:cubicBezTo>
                <a:cubicBezTo>
                  <a:pt x="498030" y="414593"/>
                  <a:pt x="492270" y="416756"/>
                  <a:pt x="485430" y="417838"/>
                </a:cubicBezTo>
                <a:lnTo>
                  <a:pt x="485430" y="456419"/>
                </a:lnTo>
                <a:cubicBezTo>
                  <a:pt x="499830" y="455337"/>
                  <a:pt x="511710" y="451371"/>
                  <a:pt x="523950" y="444160"/>
                </a:cubicBezTo>
                <a:cubicBezTo>
                  <a:pt x="528630" y="441636"/>
                  <a:pt x="532230" y="439112"/>
                  <a:pt x="536190" y="435866"/>
                </a:cubicBezTo>
                <a:close/>
                <a:moveTo>
                  <a:pt x="442950" y="408103"/>
                </a:moveTo>
                <a:lnTo>
                  <a:pt x="415590" y="435506"/>
                </a:lnTo>
                <a:cubicBezTo>
                  <a:pt x="419910" y="438751"/>
                  <a:pt x="423870" y="441636"/>
                  <a:pt x="428190" y="444160"/>
                </a:cubicBezTo>
                <a:cubicBezTo>
                  <a:pt x="440790" y="451371"/>
                  <a:pt x="452310" y="454977"/>
                  <a:pt x="466350" y="456419"/>
                </a:cubicBezTo>
                <a:lnTo>
                  <a:pt x="466350" y="417838"/>
                </a:lnTo>
                <a:cubicBezTo>
                  <a:pt x="459150" y="416756"/>
                  <a:pt x="453390" y="414593"/>
                  <a:pt x="447270" y="410987"/>
                </a:cubicBezTo>
                <a:cubicBezTo>
                  <a:pt x="445830" y="410266"/>
                  <a:pt x="444390" y="409184"/>
                  <a:pt x="442950" y="408103"/>
                </a:cubicBezTo>
                <a:close/>
                <a:moveTo>
                  <a:pt x="276225" y="407987"/>
                </a:moveTo>
                <a:lnTo>
                  <a:pt x="295097" y="407987"/>
                </a:lnTo>
                <a:lnTo>
                  <a:pt x="295097" y="419381"/>
                </a:lnTo>
                <a:cubicBezTo>
                  <a:pt x="295097" y="420806"/>
                  <a:pt x="295453" y="421874"/>
                  <a:pt x="296165" y="423298"/>
                </a:cubicBezTo>
                <a:cubicBezTo>
                  <a:pt x="296877" y="424367"/>
                  <a:pt x="297234" y="425079"/>
                  <a:pt x="298658" y="425791"/>
                </a:cubicBezTo>
                <a:cubicBezTo>
                  <a:pt x="299726" y="426503"/>
                  <a:pt x="301150" y="426859"/>
                  <a:pt x="302575" y="426859"/>
                </a:cubicBezTo>
                <a:lnTo>
                  <a:pt x="313969" y="426859"/>
                </a:lnTo>
                <a:lnTo>
                  <a:pt x="313969" y="445731"/>
                </a:lnTo>
                <a:lnTo>
                  <a:pt x="295097" y="445731"/>
                </a:lnTo>
                <a:cubicBezTo>
                  <a:pt x="291536" y="445731"/>
                  <a:pt x="288332" y="445019"/>
                  <a:pt x="285483" y="443238"/>
                </a:cubicBezTo>
                <a:cubicBezTo>
                  <a:pt x="282278" y="441458"/>
                  <a:pt x="280498" y="439678"/>
                  <a:pt x="278718" y="436473"/>
                </a:cubicBezTo>
                <a:cubicBezTo>
                  <a:pt x="276937" y="433624"/>
                  <a:pt x="276225" y="430420"/>
                  <a:pt x="276225" y="426859"/>
                </a:cubicBezTo>
                <a:close/>
                <a:moveTo>
                  <a:pt x="217488" y="407987"/>
                </a:moveTo>
                <a:lnTo>
                  <a:pt x="236360" y="407987"/>
                </a:lnTo>
                <a:lnTo>
                  <a:pt x="236360" y="419381"/>
                </a:lnTo>
                <a:cubicBezTo>
                  <a:pt x="236360" y="420806"/>
                  <a:pt x="236716" y="421874"/>
                  <a:pt x="237428" y="423298"/>
                </a:cubicBezTo>
                <a:cubicBezTo>
                  <a:pt x="238140" y="424367"/>
                  <a:pt x="238852" y="425079"/>
                  <a:pt x="240277" y="425791"/>
                </a:cubicBezTo>
                <a:cubicBezTo>
                  <a:pt x="241345" y="426503"/>
                  <a:pt x="242769" y="426859"/>
                  <a:pt x="243837" y="426859"/>
                </a:cubicBezTo>
                <a:lnTo>
                  <a:pt x="255232" y="426859"/>
                </a:lnTo>
                <a:lnTo>
                  <a:pt x="255232" y="445731"/>
                </a:lnTo>
                <a:lnTo>
                  <a:pt x="236360" y="445731"/>
                </a:lnTo>
                <a:cubicBezTo>
                  <a:pt x="233155" y="445731"/>
                  <a:pt x="229950" y="445019"/>
                  <a:pt x="227102" y="443238"/>
                </a:cubicBezTo>
                <a:cubicBezTo>
                  <a:pt x="223897" y="441458"/>
                  <a:pt x="221405" y="439678"/>
                  <a:pt x="219980" y="436473"/>
                </a:cubicBezTo>
                <a:cubicBezTo>
                  <a:pt x="218200" y="433624"/>
                  <a:pt x="217488" y="430420"/>
                  <a:pt x="217488" y="426859"/>
                </a:cubicBezTo>
                <a:close/>
                <a:moveTo>
                  <a:pt x="161925" y="407987"/>
                </a:moveTo>
                <a:lnTo>
                  <a:pt x="180975" y="407987"/>
                </a:lnTo>
                <a:lnTo>
                  <a:pt x="180975" y="419381"/>
                </a:lnTo>
                <a:cubicBezTo>
                  <a:pt x="180975" y="420806"/>
                  <a:pt x="180975" y="421874"/>
                  <a:pt x="181694" y="423298"/>
                </a:cubicBezTo>
                <a:cubicBezTo>
                  <a:pt x="182413" y="424367"/>
                  <a:pt x="183131" y="425079"/>
                  <a:pt x="184569" y="425791"/>
                </a:cubicBezTo>
                <a:cubicBezTo>
                  <a:pt x="185648" y="426503"/>
                  <a:pt x="187085" y="426859"/>
                  <a:pt x="188523" y="426859"/>
                </a:cubicBezTo>
                <a:lnTo>
                  <a:pt x="199665" y="426859"/>
                </a:lnTo>
                <a:lnTo>
                  <a:pt x="199665" y="445731"/>
                </a:lnTo>
                <a:lnTo>
                  <a:pt x="180975" y="445731"/>
                </a:lnTo>
                <a:cubicBezTo>
                  <a:pt x="177381" y="445731"/>
                  <a:pt x="174146" y="445019"/>
                  <a:pt x="171270" y="443238"/>
                </a:cubicBezTo>
                <a:cubicBezTo>
                  <a:pt x="168035" y="441458"/>
                  <a:pt x="166238" y="439678"/>
                  <a:pt x="164441" y="436473"/>
                </a:cubicBezTo>
                <a:cubicBezTo>
                  <a:pt x="162644" y="433624"/>
                  <a:pt x="161925" y="430420"/>
                  <a:pt x="161925" y="426859"/>
                </a:cubicBezTo>
                <a:close/>
                <a:moveTo>
                  <a:pt x="532230" y="371685"/>
                </a:moveTo>
                <a:cubicBezTo>
                  <a:pt x="530790" y="378536"/>
                  <a:pt x="528630" y="383945"/>
                  <a:pt x="525390" y="390074"/>
                </a:cubicBezTo>
                <a:cubicBezTo>
                  <a:pt x="524310" y="391877"/>
                  <a:pt x="523590" y="392959"/>
                  <a:pt x="522150" y="394762"/>
                </a:cubicBezTo>
                <a:lnTo>
                  <a:pt x="549870" y="422165"/>
                </a:lnTo>
                <a:cubicBezTo>
                  <a:pt x="553110" y="418199"/>
                  <a:pt x="555630" y="414593"/>
                  <a:pt x="558150" y="409906"/>
                </a:cubicBezTo>
                <a:cubicBezTo>
                  <a:pt x="565350" y="397286"/>
                  <a:pt x="569310" y="385387"/>
                  <a:pt x="570390" y="371685"/>
                </a:cubicBezTo>
                <a:close/>
                <a:moveTo>
                  <a:pt x="381030" y="371685"/>
                </a:moveTo>
                <a:cubicBezTo>
                  <a:pt x="382470" y="385387"/>
                  <a:pt x="386430" y="396925"/>
                  <a:pt x="393270" y="409184"/>
                </a:cubicBezTo>
                <a:cubicBezTo>
                  <a:pt x="396150" y="413872"/>
                  <a:pt x="398670" y="417838"/>
                  <a:pt x="402270" y="421804"/>
                </a:cubicBezTo>
                <a:lnTo>
                  <a:pt x="429270" y="394762"/>
                </a:lnTo>
                <a:cubicBezTo>
                  <a:pt x="428190" y="392959"/>
                  <a:pt x="427470" y="391877"/>
                  <a:pt x="426390" y="390074"/>
                </a:cubicBezTo>
                <a:cubicBezTo>
                  <a:pt x="422790" y="383945"/>
                  <a:pt x="420630" y="378536"/>
                  <a:pt x="419550" y="371685"/>
                </a:cubicBezTo>
                <a:close/>
                <a:moveTo>
                  <a:pt x="276225" y="352425"/>
                </a:moveTo>
                <a:lnTo>
                  <a:pt x="295097" y="352425"/>
                </a:lnTo>
                <a:lnTo>
                  <a:pt x="295097" y="363674"/>
                </a:lnTo>
                <a:cubicBezTo>
                  <a:pt x="295097" y="365125"/>
                  <a:pt x="295453" y="366576"/>
                  <a:pt x="296165" y="367665"/>
                </a:cubicBezTo>
                <a:cubicBezTo>
                  <a:pt x="296877" y="368754"/>
                  <a:pt x="297234" y="369842"/>
                  <a:pt x="298658" y="370568"/>
                </a:cubicBezTo>
                <a:cubicBezTo>
                  <a:pt x="299726" y="371294"/>
                  <a:pt x="301150" y="371656"/>
                  <a:pt x="302575" y="371656"/>
                </a:cubicBezTo>
                <a:lnTo>
                  <a:pt x="313969" y="371656"/>
                </a:lnTo>
                <a:lnTo>
                  <a:pt x="313969" y="390162"/>
                </a:lnTo>
                <a:lnTo>
                  <a:pt x="295097" y="390162"/>
                </a:lnTo>
                <a:cubicBezTo>
                  <a:pt x="291536" y="390162"/>
                  <a:pt x="288332" y="389436"/>
                  <a:pt x="285483" y="387622"/>
                </a:cubicBezTo>
                <a:cubicBezTo>
                  <a:pt x="282278" y="385808"/>
                  <a:pt x="280498" y="383631"/>
                  <a:pt x="278718" y="381091"/>
                </a:cubicBezTo>
                <a:cubicBezTo>
                  <a:pt x="276937" y="378188"/>
                  <a:pt x="276225" y="374922"/>
                  <a:pt x="276225" y="371656"/>
                </a:cubicBezTo>
                <a:close/>
                <a:moveTo>
                  <a:pt x="217488" y="352425"/>
                </a:moveTo>
                <a:lnTo>
                  <a:pt x="236360" y="352425"/>
                </a:lnTo>
                <a:lnTo>
                  <a:pt x="236360" y="363674"/>
                </a:lnTo>
                <a:cubicBezTo>
                  <a:pt x="236360" y="365125"/>
                  <a:pt x="236716" y="366576"/>
                  <a:pt x="237428" y="367665"/>
                </a:cubicBezTo>
                <a:cubicBezTo>
                  <a:pt x="238140" y="368754"/>
                  <a:pt x="238852" y="369842"/>
                  <a:pt x="240277" y="370568"/>
                </a:cubicBezTo>
                <a:cubicBezTo>
                  <a:pt x="241345" y="371294"/>
                  <a:pt x="242769" y="371656"/>
                  <a:pt x="243837" y="371656"/>
                </a:cubicBezTo>
                <a:lnTo>
                  <a:pt x="255232" y="371656"/>
                </a:lnTo>
                <a:lnTo>
                  <a:pt x="255232" y="390162"/>
                </a:lnTo>
                <a:lnTo>
                  <a:pt x="236360" y="390162"/>
                </a:lnTo>
                <a:cubicBezTo>
                  <a:pt x="233155" y="390162"/>
                  <a:pt x="229950" y="389436"/>
                  <a:pt x="227102" y="387622"/>
                </a:cubicBezTo>
                <a:cubicBezTo>
                  <a:pt x="223897" y="385808"/>
                  <a:pt x="221405" y="383994"/>
                  <a:pt x="219980" y="381091"/>
                </a:cubicBezTo>
                <a:cubicBezTo>
                  <a:pt x="218200" y="377825"/>
                  <a:pt x="217488" y="374922"/>
                  <a:pt x="217488" y="371656"/>
                </a:cubicBezTo>
                <a:close/>
                <a:moveTo>
                  <a:pt x="161925" y="352425"/>
                </a:moveTo>
                <a:lnTo>
                  <a:pt x="180975" y="352425"/>
                </a:lnTo>
                <a:lnTo>
                  <a:pt x="180975" y="363674"/>
                </a:lnTo>
                <a:cubicBezTo>
                  <a:pt x="180975" y="365125"/>
                  <a:pt x="180975" y="366576"/>
                  <a:pt x="181694" y="367665"/>
                </a:cubicBezTo>
                <a:cubicBezTo>
                  <a:pt x="182413" y="368754"/>
                  <a:pt x="183131" y="369842"/>
                  <a:pt x="184569" y="370568"/>
                </a:cubicBezTo>
                <a:cubicBezTo>
                  <a:pt x="185648" y="371294"/>
                  <a:pt x="187085" y="371656"/>
                  <a:pt x="188523" y="371656"/>
                </a:cubicBezTo>
                <a:lnTo>
                  <a:pt x="199665" y="371656"/>
                </a:lnTo>
                <a:lnTo>
                  <a:pt x="199665" y="390162"/>
                </a:lnTo>
                <a:lnTo>
                  <a:pt x="180975" y="390162"/>
                </a:lnTo>
                <a:cubicBezTo>
                  <a:pt x="177381" y="390162"/>
                  <a:pt x="174146" y="389436"/>
                  <a:pt x="171270" y="387622"/>
                </a:cubicBezTo>
                <a:cubicBezTo>
                  <a:pt x="168035" y="385808"/>
                  <a:pt x="166238" y="383631"/>
                  <a:pt x="164441" y="381091"/>
                </a:cubicBezTo>
                <a:cubicBezTo>
                  <a:pt x="162644" y="378188"/>
                  <a:pt x="161925" y="374922"/>
                  <a:pt x="161925" y="371656"/>
                </a:cubicBezTo>
                <a:close/>
                <a:moveTo>
                  <a:pt x="475710" y="323730"/>
                </a:moveTo>
                <a:cubicBezTo>
                  <a:pt x="468870" y="323730"/>
                  <a:pt x="462750" y="325533"/>
                  <a:pt x="456630" y="329138"/>
                </a:cubicBezTo>
                <a:cubicBezTo>
                  <a:pt x="450870" y="332383"/>
                  <a:pt x="446190" y="336710"/>
                  <a:pt x="442950" y="342840"/>
                </a:cubicBezTo>
                <a:cubicBezTo>
                  <a:pt x="439350" y="348969"/>
                  <a:pt x="437910" y="355099"/>
                  <a:pt x="437910" y="361950"/>
                </a:cubicBezTo>
                <a:cubicBezTo>
                  <a:pt x="437910" y="369161"/>
                  <a:pt x="439710" y="374930"/>
                  <a:pt x="442950" y="381060"/>
                </a:cubicBezTo>
                <a:cubicBezTo>
                  <a:pt x="446550" y="386829"/>
                  <a:pt x="450870" y="391516"/>
                  <a:pt x="456630" y="394762"/>
                </a:cubicBezTo>
                <a:cubicBezTo>
                  <a:pt x="462750" y="398367"/>
                  <a:pt x="468870" y="399810"/>
                  <a:pt x="475710" y="399810"/>
                </a:cubicBezTo>
                <a:cubicBezTo>
                  <a:pt x="482910" y="399810"/>
                  <a:pt x="488670" y="398367"/>
                  <a:pt x="494790" y="394762"/>
                </a:cubicBezTo>
                <a:cubicBezTo>
                  <a:pt x="500910" y="391516"/>
                  <a:pt x="505230" y="386829"/>
                  <a:pt x="508830" y="381060"/>
                </a:cubicBezTo>
                <a:cubicBezTo>
                  <a:pt x="512430" y="374930"/>
                  <a:pt x="513870" y="368801"/>
                  <a:pt x="513870" y="361950"/>
                </a:cubicBezTo>
                <a:cubicBezTo>
                  <a:pt x="513870" y="354739"/>
                  <a:pt x="512430" y="348969"/>
                  <a:pt x="508830" y="342840"/>
                </a:cubicBezTo>
                <a:cubicBezTo>
                  <a:pt x="505230" y="336710"/>
                  <a:pt x="500910" y="332383"/>
                  <a:pt x="494790" y="329138"/>
                </a:cubicBezTo>
                <a:cubicBezTo>
                  <a:pt x="488670" y="325533"/>
                  <a:pt x="482910" y="323730"/>
                  <a:pt x="475710" y="323730"/>
                </a:cubicBezTo>
                <a:close/>
                <a:moveTo>
                  <a:pt x="549510" y="301735"/>
                </a:moveTo>
                <a:lnTo>
                  <a:pt x="522150" y="328778"/>
                </a:lnTo>
                <a:cubicBezTo>
                  <a:pt x="523590" y="330581"/>
                  <a:pt x="524310" y="332023"/>
                  <a:pt x="525390" y="333465"/>
                </a:cubicBezTo>
                <a:cubicBezTo>
                  <a:pt x="528990" y="339595"/>
                  <a:pt x="530790" y="345364"/>
                  <a:pt x="532230" y="352575"/>
                </a:cubicBezTo>
                <a:lnTo>
                  <a:pt x="570390" y="352575"/>
                </a:lnTo>
                <a:cubicBezTo>
                  <a:pt x="568950" y="338513"/>
                  <a:pt x="565350" y="326614"/>
                  <a:pt x="558150" y="314355"/>
                </a:cubicBezTo>
                <a:cubicBezTo>
                  <a:pt x="555630" y="309668"/>
                  <a:pt x="553110" y="306062"/>
                  <a:pt x="549510" y="301735"/>
                </a:cubicBezTo>
                <a:close/>
                <a:moveTo>
                  <a:pt x="402270" y="301735"/>
                </a:moveTo>
                <a:cubicBezTo>
                  <a:pt x="398670" y="306062"/>
                  <a:pt x="396150" y="309668"/>
                  <a:pt x="393270" y="314355"/>
                </a:cubicBezTo>
                <a:cubicBezTo>
                  <a:pt x="386430" y="326614"/>
                  <a:pt x="382470" y="338513"/>
                  <a:pt x="381030" y="352575"/>
                </a:cubicBezTo>
                <a:lnTo>
                  <a:pt x="419550" y="352575"/>
                </a:lnTo>
                <a:cubicBezTo>
                  <a:pt x="420630" y="345364"/>
                  <a:pt x="422790" y="339595"/>
                  <a:pt x="426390" y="333465"/>
                </a:cubicBezTo>
                <a:cubicBezTo>
                  <a:pt x="427470" y="332023"/>
                  <a:pt x="428190" y="330581"/>
                  <a:pt x="429270" y="328778"/>
                </a:cubicBezTo>
                <a:close/>
                <a:moveTo>
                  <a:pt x="276225" y="295275"/>
                </a:moveTo>
                <a:lnTo>
                  <a:pt x="295097" y="295275"/>
                </a:lnTo>
                <a:lnTo>
                  <a:pt x="295097" y="306669"/>
                </a:lnTo>
                <a:cubicBezTo>
                  <a:pt x="295097" y="308094"/>
                  <a:pt x="295453" y="309162"/>
                  <a:pt x="296165" y="310230"/>
                </a:cubicBezTo>
                <a:cubicBezTo>
                  <a:pt x="296877" y="311654"/>
                  <a:pt x="297234" y="312367"/>
                  <a:pt x="298658" y="313079"/>
                </a:cubicBezTo>
                <a:cubicBezTo>
                  <a:pt x="299726" y="313791"/>
                  <a:pt x="301150" y="314147"/>
                  <a:pt x="302575" y="314147"/>
                </a:cubicBezTo>
                <a:lnTo>
                  <a:pt x="313969" y="314147"/>
                </a:lnTo>
                <a:lnTo>
                  <a:pt x="313969" y="333019"/>
                </a:lnTo>
                <a:lnTo>
                  <a:pt x="295097" y="333019"/>
                </a:lnTo>
                <a:cubicBezTo>
                  <a:pt x="291536" y="333019"/>
                  <a:pt x="288332" y="332307"/>
                  <a:pt x="285483" y="330526"/>
                </a:cubicBezTo>
                <a:cubicBezTo>
                  <a:pt x="282278" y="328746"/>
                  <a:pt x="280498" y="326253"/>
                  <a:pt x="278718" y="323405"/>
                </a:cubicBezTo>
                <a:cubicBezTo>
                  <a:pt x="276937" y="320200"/>
                  <a:pt x="276225" y="317708"/>
                  <a:pt x="276225" y="314147"/>
                </a:cubicBezTo>
                <a:close/>
                <a:moveTo>
                  <a:pt x="217488" y="295275"/>
                </a:moveTo>
                <a:lnTo>
                  <a:pt x="236360" y="295275"/>
                </a:lnTo>
                <a:lnTo>
                  <a:pt x="236360" y="306669"/>
                </a:lnTo>
                <a:cubicBezTo>
                  <a:pt x="236360" y="308094"/>
                  <a:pt x="236716" y="309162"/>
                  <a:pt x="237428" y="310230"/>
                </a:cubicBezTo>
                <a:cubicBezTo>
                  <a:pt x="238140" y="311654"/>
                  <a:pt x="238852" y="312367"/>
                  <a:pt x="240277" y="313079"/>
                </a:cubicBezTo>
                <a:cubicBezTo>
                  <a:pt x="241345" y="313791"/>
                  <a:pt x="242769" y="314147"/>
                  <a:pt x="243837" y="314147"/>
                </a:cubicBezTo>
                <a:lnTo>
                  <a:pt x="255232" y="314147"/>
                </a:lnTo>
                <a:lnTo>
                  <a:pt x="255232" y="333019"/>
                </a:lnTo>
                <a:lnTo>
                  <a:pt x="236360" y="333019"/>
                </a:lnTo>
                <a:cubicBezTo>
                  <a:pt x="233155" y="333019"/>
                  <a:pt x="229950" y="332307"/>
                  <a:pt x="227102" y="330526"/>
                </a:cubicBezTo>
                <a:cubicBezTo>
                  <a:pt x="223897" y="328746"/>
                  <a:pt x="221405" y="326253"/>
                  <a:pt x="219980" y="323405"/>
                </a:cubicBezTo>
                <a:cubicBezTo>
                  <a:pt x="218200" y="320200"/>
                  <a:pt x="217488" y="317708"/>
                  <a:pt x="217488" y="314147"/>
                </a:cubicBezTo>
                <a:close/>
                <a:moveTo>
                  <a:pt x="161925" y="295275"/>
                </a:moveTo>
                <a:lnTo>
                  <a:pt x="180975" y="295275"/>
                </a:lnTo>
                <a:lnTo>
                  <a:pt x="180975" y="306669"/>
                </a:lnTo>
                <a:cubicBezTo>
                  <a:pt x="180975" y="308094"/>
                  <a:pt x="180975" y="309162"/>
                  <a:pt x="181694" y="310230"/>
                </a:cubicBezTo>
                <a:cubicBezTo>
                  <a:pt x="182413" y="311654"/>
                  <a:pt x="183131" y="312367"/>
                  <a:pt x="184569" y="313079"/>
                </a:cubicBezTo>
                <a:cubicBezTo>
                  <a:pt x="185648" y="313791"/>
                  <a:pt x="187085" y="314147"/>
                  <a:pt x="188523" y="314147"/>
                </a:cubicBezTo>
                <a:lnTo>
                  <a:pt x="199665" y="314147"/>
                </a:lnTo>
                <a:lnTo>
                  <a:pt x="199665" y="333019"/>
                </a:lnTo>
                <a:lnTo>
                  <a:pt x="180975" y="333019"/>
                </a:lnTo>
                <a:cubicBezTo>
                  <a:pt x="177381" y="333019"/>
                  <a:pt x="174146" y="332307"/>
                  <a:pt x="171270" y="330526"/>
                </a:cubicBezTo>
                <a:cubicBezTo>
                  <a:pt x="168035" y="328746"/>
                  <a:pt x="166238" y="326253"/>
                  <a:pt x="164441" y="323405"/>
                </a:cubicBezTo>
                <a:cubicBezTo>
                  <a:pt x="162644" y="320200"/>
                  <a:pt x="161925" y="317708"/>
                  <a:pt x="161925" y="314147"/>
                </a:cubicBezTo>
                <a:close/>
                <a:moveTo>
                  <a:pt x="485430" y="267121"/>
                </a:moveTo>
                <a:lnTo>
                  <a:pt x="485430" y="305701"/>
                </a:lnTo>
                <a:cubicBezTo>
                  <a:pt x="492270" y="306783"/>
                  <a:pt x="498030" y="308946"/>
                  <a:pt x="504150" y="312552"/>
                </a:cubicBezTo>
                <a:cubicBezTo>
                  <a:pt x="505950" y="313273"/>
                  <a:pt x="507390" y="314355"/>
                  <a:pt x="508830" y="315437"/>
                </a:cubicBezTo>
                <a:lnTo>
                  <a:pt x="536190" y="288034"/>
                </a:lnTo>
                <a:cubicBezTo>
                  <a:pt x="531870" y="284788"/>
                  <a:pt x="527910" y="282264"/>
                  <a:pt x="523230" y="279380"/>
                </a:cubicBezTo>
                <a:cubicBezTo>
                  <a:pt x="510990" y="272169"/>
                  <a:pt x="499470" y="268563"/>
                  <a:pt x="485430" y="267121"/>
                </a:cubicBezTo>
                <a:close/>
                <a:moveTo>
                  <a:pt x="466350" y="267121"/>
                </a:moveTo>
                <a:cubicBezTo>
                  <a:pt x="452310" y="268563"/>
                  <a:pt x="440430" y="271808"/>
                  <a:pt x="428190" y="279380"/>
                </a:cubicBezTo>
                <a:cubicBezTo>
                  <a:pt x="423510" y="281904"/>
                  <a:pt x="419910" y="284788"/>
                  <a:pt x="415590" y="288034"/>
                </a:cubicBezTo>
                <a:lnTo>
                  <a:pt x="442950" y="315437"/>
                </a:lnTo>
                <a:cubicBezTo>
                  <a:pt x="444390" y="314355"/>
                  <a:pt x="445830" y="313273"/>
                  <a:pt x="447270" y="312552"/>
                </a:cubicBezTo>
                <a:cubicBezTo>
                  <a:pt x="453390" y="308946"/>
                  <a:pt x="459150" y="306783"/>
                  <a:pt x="466350" y="305701"/>
                </a:cubicBezTo>
                <a:close/>
                <a:moveTo>
                  <a:pt x="475710" y="247650"/>
                </a:moveTo>
                <a:cubicBezTo>
                  <a:pt x="496950" y="247650"/>
                  <a:pt x="514590" y="251977"/>
                  <a:pt x="532950" y="262794"/>
                </a:cubicBezTo>
                <a:cubicBezTo>
                  <a:pt x="551310" y="273250"/>
                  <a:pt x="564270" y="286231"/>
                  <a:pt x="574710" y="304620"/>
                </a:cubicBezTo>
                <a:cubicBezTo>
                  <a:pt x="585150" y="322648"/>
                  <a:pt x="590190" y="340676"/>
                  <a:pt x="590190" y="361950"/>
                </a:cubicBezTo>
                <a:cubicBezTo>
                  <a:pt x="590190" y="382863"/>
                  <a:pt x="585150" y="400891"/>
                  <a:pt x="574710" y="418920"/>
                </a:cubicBezTo>
                <a:cubicBezTo>
                  <a:pt x="564270" y="437309"/>
                  <a:pt x="551310" y="450289"/>
                  <a:pt x="532950" y="460746"/>
                </a:cubicBezTo>
                <a:cubicBezTo>
                  <a:pt x="514590" y="471202"/>
                  <a:pt x="496950" y="475890"/>
                  <a:pt x="475710" y="475890"/>
                </a:cubicBezTo>
                <a:lnTo>
                  <a:pt x="475350" y="475890"/>
                </a:lnTo>
                <a:cubicBezTo>
                  <a:pt x="454110" y="475890"/>
                  <a:pt x="436830" y="471202"/>
                  <a:pt x="418470" y="460746"/>
                </a:cubicBezTo>
                <a:cubicBezTo>
                  <a:pt x="400470" y="450289"/>
                  <a:pt x="387150" y="437669"/>
                  <a:pt x="376710" y="419280"/>
                </a:cubicBezTo>
                <a:cubicBezTo>
                  <a:pt x="366270" y="401252"/>
                  <a:pt x="361950" y="383223"/>
                  <a:pt x="361950" y="362671"/>
                </a:cubicBezTo>
                <a:cubicBezTo>
                  <a:pt x="361950" y="362311"/>
                  <a:pt x="361950" y="362311"/>
                  <a:pt x="361950" y="361950"/>
                </a:cubicBezTo>
                <a:cubicBezTo>
                  <a:pt x="361950" y="341037"/>
                  <a:pt x="366630" y="323009"/>
                  <a:pt x="377070" y="304620"/>
                </a:cubicBezTo>
                <a:cubicBezTo>
                  <a:pt x="387870" y="286591"/>
                  <a:pt x="400830" y="273250"/>
                  <a:pt x="418830" y="262794"/>
                </a:cubicBezTo>
                <a:cubicBezTo>
                  <a:pt x="437190" y="251977"/>
                  <a:pt x="454830" y="247650"/>
                  <a:pt x="475710" y="247650"/>
                </a:cubicBezTo>
                <a:close/>
                <a:moveTo>
                  <a:pt x="76246" y="190428"/>
                </a:moveTo>
                <a:lnTo>
                  <a:pt x="76246" y="247722"/>
                </a:lnTo>
                <a:lnTo>
                  <a:pt x="95343" y="247722"/>
                </a:lnTo>
                <a:lnTo>
                  <a:pt x="95343" y="190428"/>
                </a:lnTo>
                <a:close/>
                <a:moveTo>
                  <a:pt x="95343" y="95298"/>
                </a:moveTo>
                <a:lnTo>
                  <a:pt x="95343" y="171330"/>
                </a:lnTo>
                <a:lnTo>
                  <a:pt x="114439" y="171330"/>
                </a:lnTo>
                <a:lnTo>
                  <a:pt x="114439" y="266820"/>
                </a:lnTo>
                <a:lnTo>
                  <a:pt x="95343" y="266820"/>
                </a:lnTo>
                <a:lnTo>
                  <a:pt x="95343" y="457080"/>
                </a:lnTo>
                <a:lnTo>
                  <a:pt x="114439" y="457080"/>
                </a:lnTo>
                <a:lnTo>
                  <a:pt x="114439" y="552210"/>
                </a:lnTo>
                <a:lnTo>
                  <a:pt x="95343" y="552210"/>
                </a:lnTo>
                <a:lnTo>
                  <a:pt x="95343" y="628602"/>
                </a:lnTo>
                <a:lnTo>
                  <a:pt x="628243" y="628602"/>
                </a:lnTo>
                <a:lnTo>
                  <a:pt x="628243" y="95298"/>
                </a:lnTo>
                <a:close/>
                <a:moveTo>
                  <a:pt x="76246" y="76200"/>
                </a:moveTo>
                <a:lnTo>
                  <a:pt x="647340" y="76200"/>
                </a:lnTo>
                <a:lnTo>
                  <a:pt x="647340" y="647340"/>
                </a:lnTo>
                <a:lnTo>
                  <a:pt x="76246" y="647340"/>
                </a:lnTo>
                <a:lnTo>
                  <a:pt x="76246" y="552210"/>
                </a:lnTo>
                <a:lnTo>
                  <a:pt x="57150" y="552210"/>
                </a:lnTo>
                <a:lnTo>
                  <a:pt x="57150" y="457080"/>
                </a:lnTo>
                <a:lnTo>
                  <a:pt x="76246" y="457080"/>
                </a:lnTo>
                <a:lnTo>
                  <a:pt x="76246" y="266820"/>
                </a:lnTo>
                <a:lnTo>
                  <a:pt x="57150" y="266820"/>
                </a:lnTo>
                <a:lnTo>
                  <a:pt x="57150" y="171330"/>
                </a:lnTo>
                <a:lnTo>
                  <a:pt x="76246" y="171330"/>
                </a:lnTo>
                <a:close/>
                <a:moveTo>
                  <a:pt x="57264" y="19086"/>
                </a:moveTo>
                <a:cubicBezTo>
                  <a:pt x="50061" y="19086"/>
                  <a:pt x="44298" y="20887"/>
                  <a:pt x="38176" y="24128"/>
                </a:cubicBezTo>
                <a:cubicBezTo>
                  <a:pt x="32053" y="27729"/>
                  <a:pt x="27731" y="32050"/>
                  <a:pt x="24130" y="38172"/>
                </a:cubicBezTo>
                <a:cubicBezTo>
                  <a:pt x="20889" y="44294"/>
                  <a:pt x="19088" y="50056"/>
                  <a:pt x="19088" y="57258"/>
                </a:cubicBezTo>
                <a:lnTo>
                  <a:pt x="19088" y="666210"/>
                </a:lnTo>
                <a:cubicBezTo>
                  <a:pt x="19088" y="673412"/>
                  <a:pt x="20889" y="679174"/>
                  <a:pt x="24130" y="685296"/>
                </a:cubicBezTo>
                <a:cubicBezTo>
                  <a:pt x="27731" y="691418"/>
                  <a:pt x="32053" y="695739"/>
                  <a:pt x="38176" y="699340"/>
                </a:cubicBezTo>
                <a:cubicBezTo>
                  <a:pt x="44298" y="702941"/>
                  <a:pt x="50061" y="704382"/>
                  <a:pt x="57264" y="704382"/>
                </a:cubicBezTo>
                <a:lnTo>
                  <a:pt x="666276" y="704382"/>
                </a:lnTo>
                <a:cubicBezTo>
                  <a:pt x="673479" y="704382"/>
                  <a:pt x="679242" y="702941"/>
                  <a:pt x="685364" y="699340"/>
                </a:cubicBezTo>
                <a:cubicBezTo>
                  <a:pt x="691487" y="695739"/>
                  <a:pt x="695809" y="691418"/>
                  <a:pt x="699410" y="685296"/>
                </a:cubicBezTo>
                <a:cubicBezTo>
                  <a:pt x="702651" y="679174"/>
                  <a:pt x="704452" y="673412"/>
                  <a:pt x="704452" y="666210"/>
                </a:cubicBezTo>
                <a:lnTo>
                  <a:pt x="704452" y="57258"/>
                </a:lnTo>
                <a:cubicBezTo>
                  <a:pt x="704452" y="50056"/>
                  <a:pt x="702651" y="44294"/>
                  <a:pt x="699410" y="38172"/>
                </a:cubicBezTo>
                <a:cubicBezTo>
                  <a:pt x="695809" y="32050"/>
                  <a:pt x="691487" y="27729"/>
                  <a:pt x="685364" y="24128"/>
                </a:cubicBezTo>
                <a:cubicBezTo>
                  <a:pt x="679242" y="20887"/>
                  <a:pt x="673479" y="19086"/>
                  <a:pt x="666276" y="19086"/>
                </a:cubicBezTo>
                <a:close/>
                <a:moveTo>
                  <a:pt x="57264" y="0"/>
                </a:moveTo>
                <a:lnTo>
                  <a:pt x="666276" y="0"/>
                </a:lnTo>
                <a:cubicBezTo>
                  <a:pt x="676721" y="0"/>
                  <a:pt x="685724" y="2161"/>
                  <a:pt x="694728" y="7562"/>
                </a:cubicBezTo>
                <a:cubicBezTo>
                  <a:pt x="704092" y="12604"/>
                  <a:pt x="710935" y="19446"/>
                  <a:pt x="715977" y="28809"/>
                </a:cubicBezTo>
                <a:cubicBezTo>
                  <a:pt x="721379" y="37812"/>
                  <a:pt x="723540" y="46815"/>
                  <a:pt x="723540" y="57258"/>
                </a:cubicBezTo>
                <a:lnTo>
                  <a:pt x="723540" y="666210"/>
                </a:lnTo>
                <a:cubicBezTo>
                  <a:pt x="723540" y="677013"/>
                  <a:pt x="721379" y="686016"/>
                  <a:pt x="715977" y="695019"/>
                </a:cubicBezTo>
                <a:cubicBezTo>
                  <a:pt x="710935" y="704382"/>
                  <a:pt x="704092" y="710864"/>
                  <a:pt x="694728" y="715906"/>
                </a:cubicBezTo>
                <a:cubicBezTo>
                  <a:pt x="685724" y="721307"/>
                  <a:pt x="676721" y="723468"/>
                  <a:pt x="666276" y="723468"/>
                </a:cubicBezTo>
                <a:lnTo>
                  <a:pt x="647188" y="723468"/>
                </a:lnTo>
                <a:lnTo>
                  <a:pt x="647188" y="761640"/>
                </a:lnTo>
                <a:lnTo>
                  <a:pt x="552109" y="761640"/>
                </a:lnTo>
                <a:lnTo>
                  <a:pt x="552109" y="723468"/>
                </a:lnTo>
                <a:lnTo>
                  <a:pt x="171431" y="723468"/>
                </a:lnTo>
                <a:lnTo>
                  <a:pt x="171431" y="761640"/>
                </a:lnTo>
                <a:lnTo>
                  <a:pt x="76352" y="761640"/>
                </a:lnTo>
                <a:lnTo>
                  <a:pt x="76352" y="723468"/>
                </a:lnTo>
                <a:lnTo>
                  <a:pt x="57264" y="723468"/>
                </a:lnTo>
                <a:cubicBezTo>
                  <a:pt x="46819" y="723468"/>
                  <a:pt x="37816" y="721307"/>
                  <a:pt x="28812" y="715906"/>
                </a:cubicBezTo>
                <a:cubicBezTo>
                  <a:pt x="19448" y="710864"/>
                  <a:pt x="12605" y="704382"/>
                  <a:pt x="7563" y="695019"/>
                </a:cubicBezTo>
                <a:cubicBezTo>
                  <a:pt x="2161" y="686016"/>
                  <a:pt x="0" y="677013"/>
                  <a:pt x="0" y="666210"/>
                </a:cubicBezTo>
                <a:lnTo>
                  <a:pt x="0" y="57258"/>
                </a:lnTo>
                <a:cubicBezTo>
                  <a:pt x="0" y="46815"/>
                  <a:pt x="2161" y="37812"/>
                  <a:pt x="7563" y="28809"/>
                </a:cubicBezTo>
                <a:cubicBezTo>
                  <a:pt x="12605" y="19446"/>
                  <a:pt x="19448" y="12604"/>
                  <a:pt x="28812" y="7562"/>
                </a:cubicBezTo>
                <a:cubicBezTo>
                  <a:pt x="37816" y="2161"/>
                  <a:pt x="46819" y="0"/>
                  <a:pt x="5726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ru-RU"/>
          </a:p>
        </p:txBody>
      </p:sp>
      <p:sp>
        <p:nvSpPr>
          <p:cNvPr id="38" name="Freeform 37">
            <a:extLst>
              <a:ext uri="{FF2B5EF4-FFF2-40B4-BE49-F238E27FC236}">
                <a16:creationId xmlns="" xmlns:a16="http://schemas.microsoft.com/office/drawing/2014/main" id="{65B3715D-D9A2-0544-A09D-6EB2BA9C976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80300" y="4022099"/>
            <a:ext cx="414043" cy="414845"/>
          </a:xfrm>
          <a:custGeom>
            <a:avLst/>
            <a:gdLst>
              <a:gd name="connsiteX0" fmla="*/ 142875 w 817205"/>
              <a:gd name="connsiteY0" fmla="*/ 731838 h 818790"/>
              <a:gd name="connsiteX1" fmla="*/ 171093 w 817205"/>
              <a:gd name="connsiteY1" fmla="*/ 731838 h 818790"/>
              <a:gd name="connsiteX2" fmla="*/ 171093 w 817205"/>
              <a:gd name="connsiteY2" fmla="*/ 760056 h 818790"/>
              <a:gd name="connsiteX3" fmla="*/ 157162 w 817205"/>
              <a:gd name="connsiteY3" fmla="*/ 760056 h 818790"/>
              <a:gd name="connsiteX4" fmla="*/ 142875 w 817205"/>
              <a:gd name="connsiteY4" fmla="*/ 760056 h 818790"/>
              <a:gd name="connsiteX5" fmla="*/ 95250 w 817205"/>
              <a:gd name="connsiteY5" fmla="*/ 731838 h 818790"/>
              <a:gd name="connsiteX6" fmla="*/ 123468 w 817205"/>
              <a:gd name="connsiteY6" fmla="*/ 731838 h 818790"/>
              <a:gd name="connsiteX7" fmla="*/ 123468 w 817205"/>
              <a:gd name="connsiteY7" fmla="*/ 760056 h 818790"/>
              <a:gd name="connsiteX8" fmla="*/ 109180 w 817205"/>
              <a:gd name="connsiteY8" fmla="*/ 760056 h 818790"/>
              <a:gd name="connsiteX9" fmla="*/ 95250 w 817205"/>
              <a:gd name="connsiteY9" fmla="*/ 760056 h 818790"/>
              <a:gd name="connsiteX10" fmla="*/ 47625 w 817205"/>
              <a:gd name="connsiteY10" fmla="*/ 731838 h 818790"/>
              <a:gd name="connsiteX11" fmla="*/ 75847 w 817205"/>
              <a:gd name="connsiteY11" fmla="*/ 731838 h 818790"/>
              <a:gd name="connsiteX12" fmla="*/ 75847 w 817205"/>
              <a:gd name="connsiteY12" fmla="*/ 760056 h 818790"/>
              <a:gd name="connsiteX13" fmla="*/ 61736 w 817205"/>
              <a:gd name="connsiteY13" fmla="*/ 760056 h 818790"/>
              <a:gd name="connsiteX14" fmla="*/ 47625 w 817205"/>
              <a:gd name="connsiteY14" fmla="*/ 760056 h 818790"/>
              <a:gd name="connsiteX15" fmla="*/ 314325 w 817205"/>
              <a:gd name="connsiteY15" fmla="*/ 684213 h 818790"/>
              <a:gd name="connsiteX16" fmla="*/ 456840 w 817205"/>
              <a:gd name="connsiteY16" fmla="*/ 684213 h 818790"/>
              <a:gd name="connsiteX17" fmla="*/ 456840 w 817205"/>
              <a:gd name="connsiteY17" fmla="*/ 702904 h 818790"/>
              <a:gd name="connsiteX18" fmla="*/ 385583 w 817205"/>
              <a:gd name="connsiteY18" fmla="*/ 702904 h 818790"/>
              <a:gd name="connsiteX19" fmla="*/ 314325 w 817205"/>
              <a:gd name="connsiteY19" fmla="*/ 702904 h 818790"/>
              <a:gd name="connsiteX20" fmla="*/ 190500 w 817205"/>
              <a:gd name="connsiteY20" fmla="*/ 684213 h 818790"/>
              <a:gd name="connsiteX21" fmla="*/ 218722 w 817205"/>
              <a:gd name="connsiteY21" fmla="*/ 684213 h 818790"/>
              <a:gd name="connsiteX22" fmla="*/ 218722 w 817205"/>
              <a:gd name="connsiteY22" fmla="*/ 760054 h 818790"/>
              <a:gd name="connsiteX23" fmla="*/ 204611 w 817205"/>
              <a:gd name="connsiteY23" fmla="*/ 760054 h 818790"/>
              <a:gd name="connsiteX24" fmla="*/ 190500 w 817205"/>
              <a:gd name="connsiteY24" fmla="*/ 760054 h 818790"/>
              <a:gd name="connsiteX25" fmla="*/ 142875 w 817205"/>
              <a:gd name="connsiteY25" fmla="*/ 684213 h 818790"/>
              <a:gd name="connsiteX26" fmla="*/ 171093 w 817205"/>
              <a:gd name="connsiteY26" fmla="*/ 684213 h 818790"/>
              <a:gd name="connsiteX27" fmla="*/ 171093 w 817205"/>
              <a:gd name="connsiteY27" fmla="*/ 712431 h 818790"/>
              <a:gd name="connsiteX28" fmla="*/ 157162 w 817205"/>
              <a:gd name="connsiteY28" fmla="*/ 712431 h 818790"/>
              <a:gd name="connsiteX29" fmla="*/ 142875 w 817205"/>
              <a:gd name="connsiteY29" fmla="*/ 712431 h 818790"/>
              <a:gd name="connsiteX30" fmla="*/ 95250 w 817205"/>
              <a:gd name="connsiteY30" fmla="*/ 684213 h 818790"/>
              <a:gd name="connsiteX31" fmla="*/ 123468 w 817205"/>
              <a:gd name="connsiteY31" fmla="*/ 684213 h 818790"/>
              <a:gd name="connsiteX32" fmla="*/ 123468 w 817205"/>
              <a:gd name="connsiteY32" fmla="*/ 712431 h 818790"/>
              <a:gd name="connsiteX33" fmla="*/ 109180 w 817205"/>
              <a:gd name="connsiteY33" fmla="*/ 712431 h 818790"/>
              <a:gd name="connsiteX34" fmla="*/ 95250 w 817205"/>
              <a:gd name="connsiteY34" fmla="*/ 712431 h 818790"/>
              <a:gd name="connsiteX35" fmla="*/ 47625 w 817205"/>
              <a:gd name="connsiteY35" fmla="*/ 684213 h 818790"/>
              <a:gd name="connsiteX36" fmla="*/ 75847 w 817205"/>
              <a:gd name="connsiteY36" fmla="*/ 684213 h 818790"/>
              <a:gd name="connsiteX37" fmla="*/ 75847 w 817205"/>
              <a:gd name="connsiteY37" fmla="*/ 712431 h 818790"/>
              <a:gd name="connsiteX38" fmla="*/ 61736 w 817205"/>
              <a:gd name="connsiteY38" fmla="*/ 712431 h 818790"/>
              <a:gd name="connsiteX39" fmla="*/ 47625 w 817205"/>
              <a:gd name="connsiteY39" fmla="*/ 712431 h 818790"/>
              <a:gd name="connsiteX40" fmla="*/ 551905 w 817205"/>
              <a:gd name="connsiteY40" fmla="*/ 666482 h 818790"/>
              <a:gd name="connsiteX41" fmla="*/ 551905 w 817205"/>
              <a:gd name="connsiteY41" fmla="*/ 753618 h 818790"/>
              <a:gd name="connsiteX42" fmla="*/ 595827 w 817205"/>
              <a:gd name="connsiteY42" fmla="*/ 709690 h 818790"/>
              <a:gd name="connsiteX43" fmla="*/ 635069 w 817205"/>
              <a:gd name="connsiteY43" fmla="*/ 666482 h 818790"/>
              <a:gd name="connsiteX44" fmla="*/ 314325 w 817205"/>
              <a:gd name="connsiteY44" fmla="*/ 646113 h 818790"/>
              <a:gd name="connsiteX45" fmla="*/ 513990 w 817205"/>
              <a:gd name="connsiteY45" fmla="*/ 646113 h 818790"/>
              <a:gd name="connsiteX46" fmla="*/ 513990 w 817205"/>
              <a:gd name="connsiteY46" fmla="*/ 664810 h 818790"/>
              <a:gd name="connsiteX47" fmla="*/ 414158 w 817205"/>
              <a:gd name="connsiteY47" fmla="*/ 664810 h 818790"/>
              <a:gd name="connsiteX48" fmla="*/ 314325 w 817205"/>
              <a:gd name="connsiteY48" fmla="*/ 664810 h 818790"/>
              <a:gd name="connsiteX49" fmla="*/ 190500 w 817205"/>
              <a:gd name="connsiteY49" fmla="*/ 636588 h 818790"/>
              <a:gd name="connsiteX50" fmla="*/ 218722 w 817205"/>
              <a:gd name="connsiteY50" fmla="*/ 636588 h 818790"/>
              <a:gd name="connsiteX51" fmla="*/ 218722 w 817205"/>
              <a:gd name="connsiteY51" fmla="*/ 664810 h 818790"/>
              <a:gd name="connsiteX52" fmla="*/ 204611 w 817205"/>
              <a:gd name="connsiteY52" fmla="*/ 664810 h 818790"/>
              <a:gd name="connsiteX53" fmla="*/ 190500 w 817205"/>
              <a:gd name="connsiteY53" fmla="*/ 664810 h 818790"/>
              <a:gd name="connsiteX54" fmla="*/ 142875 w 817205"/>
              <a:gd name="connsiteY54" fmla="*/ 636588 h 818790"/>
              <a:gd name="connsiteX55" fmla="*/ 171093 w 817205"/>
              <a:gd name="connsiteY55" fmla="*/ 636588 h 818790"/>
              <a:gd name="connsiteX56" fmla="*/ 171093 w 817205"/>
              <a:gd name="connsiteY56" fmla="*/ 664810 h 818790"/>
              <a:gd name="connsiteX57" fmla="*/ 157162 w 817205"/>
              <a:gd name="connsiteY57" fmla="*/ 664810 h 818790"/>
              <a:gd name="connsiteX58" fmla="*/ 142875 w 817205"/>
              <a:gd name="connsiteY58" fmla="*/ 664810 h 818790"/>
              <a:gd name="connsiteX59" fmla="*/ 95250 w 817205"/>
              <a:gd name="connsiteY59" fmla="*/ 636588 h 818790"/>
              <a:gd name="connsiteX60" fmla="*/ 123468 w 817205"/>
              <a:gd name="connsiteY60" fmla="*/ 636588 h 818790"/>
              <a:gd name="connsiteX61" fmla="*/ 123468 w 817205"/>
              <a:gd name="connsiteY61" fmla="*/ 664810 h 818790"/>
              <a:gd name="connsiteX62" fmla="*/ 109180 w 817205"/>
              <a:gd name="connsiteY62" fmla="*/ 664810 h 818790"/>
              <a:gd name="connsiteX63" fmla="*/ 95250 w 817205"/>
              <a:gd name="connsiteY63" fmla="*/ 664810 h 818790"/>
              <a:gd name="connsiteX64" fmla="*/ 47625 w 817205"/>
              <a:gd name="connsiteY64" fmla="*/ 636588 h 818790"/>
              <a:gd name="connsiteX65" fmla="*/ 75847 w 817205"/>
              <a:gd name="connsiteY65" fmla="*/ 636588 h 818790"/>
              <a:gd name="connsiteX66" fmla="*/ 75847 w 817205"/>
              <a:gd name="connsiteY66" fmla="*/ 664810 h 818790"/>
              <a:gd name="connsiteX67" fmla="*/ 61736 w 817205"/>
              <a:gd name="connsiteY67" fmla="*/ 664810 h 818790"/>
              <a:gd name="connsiteX68" fmla="*/ 47625 w 817205"/>
              <a:gd name="connsiteY68" fmla="*/ 664810 h 818790"/>
              <a:gd name="connsiteX69" fmla="*/ 314325 w 817205"/>
              <a:gd name="connsiteY69" fmla="*/ 588963 h 818790"/>
              <a:gd name="connsiteX70" fmla="*/ 475890 w 817205"/>
              <a:gd name="connsiteY70" fmla="*/ 588963 h 818790"/>
              <a:gd name="connsiteX71" fmla="*/ 475890 w 817205"/>
              <a:gd name="connsiteY71" fmla="*/ 607660 h 818790"/>
              <a:gd name="connsiteX72" fmla="*/ 395288 w 817205"/>
              <a:gd name="connsiteY72" fmla="*/ 607660 h 818790"/>
              <a:gd name="connsiteX73" fmla="*/ 314325 w 817205"/>
              <a:gd name="connsiteY73" fmla="*/ 607660 h 818790"/>
              <a:gd name="connsiteX74" fmla="*/ 722254 w 817205"/>
              <a:gd name="connsiteY74" fmla="*/ 552000 h 818790"/>
              <a:gd name="connsiteX75" fmla="*/ 722254 w 817205"/>
              <a:gd name="connsiteY75" fmla="*/ 571080 h 818790"/>
              <a:gd name="connsiteX76" fmla="*/ 724762 w 817205"/>
              <a:gd name="connsiteY76" fmla="*/ 580800 h 818790"/>
              <a:gd name="connsiteX77" fmla="*/ 731928 w 817205"/>
              <a:gd name="connsiteY77" fmla="*/ 587640 h 818790"/>
              <a:gd name="connsiteX78" fmla="*/ 741244 w 817205"/>
              <a:gd name="connsiteY78" fmla="*/ 590160 h 818790"/>
              <a:gd name="connsiteX79" fmla="*/ 750918 w 817205"/>
              <a:gd name="connsiteY79" fmla="*/ 587640 h 818790"/>
              <a:gd name="connsiteX80" fmla="*/ 757726 w 817205"/>
              <a:gd name="connsiteY80" fmla="*/ 580800 h 818790"/>
              <a:gd name="connsiteX81" fmla="*/ 760234 w 817205"/>
              <a:gd name="connsiteY81" fmla="*/ 571080 h 818790"/>
              <a:gd name="connsiteX82" fmla="*/ 760234 w 817205"/>
              <a:gd name="connsiteY82" fmla="*/ 552000 h 818790"/>
              <a:gd name="connsiteX83" fmla="*/ 314325 w 817205"/>
              <a:gd name="connsiteY83" fmla="*/ 550863 h 818790"/>
              <a:gd name="connsiteX84" fmla="*/ 590190 w 817205"/>
              <a:gd name="connsiteY84" fmla="*/ 550863 h 818790"/>
              <a:gd name="connsiteX85" fmla="*/ 590190 w 817205"/>
              <a:gd name="connsiteY85" fmla="*/ 569560 h 818790"/>
              <a:gd name="connsiteX86" fmla="*/ 452258 w 817205"/>
              <a:gd name="connsiteY86" fmla="*/ 569560 h 818790"/>
              <a:gd name="connsiteX87" fmla="*/ 314325 w 817205"/>
              <a:gd name="connsiteY87" fmla="*/ 569560 h 818790"/>
              <a:gd name="connsiteX88" fmla="*/ 66635 w 817205"/>
              <a:gd name="connsiteY88" fmla="*/ 541298 h 818790"/>
              <a:gd name="connsiteX89" fmla="*/ 66635 w 817205"/>
              <a:gd name="connsiteY89" fmla="*/ 588644 h 818790"/>
              <a:gd name="connsiteX90" fmla="*/ 199706 w 817205"/>
              <a:gd name="connsiteY90" fmla="*/ 588644 h 818790"/>
              <a:gd name="connsiteX91" fmla="*/ 199706 w 817205"/>
              <a:gd name="connsiteY91" fmla="*/ 541298 h 818790"/>
              <a:gd name="connsiteX92" fmla="*/ 47625 w 817205"/>
              <a:gd name="connsiteY92" fmla="*/ 522288 h 818790"/>
              <a:gd name="connsiteX93" fmla="*/ 218717 w 817205"/>
              <a:gd name="connsiteY93" fmla="*/ 522288 h 818790"/>
              <a:gd name="connsiteX94" fmla="*/ 218717 w 817205"/>
              <a:gd name="connsiteY94" fmla="*/ 607654 h 818790"/>
              <a:gd name="connsiteX95" fmla="*/ 47625 w 817205"/>
              <a:gd name="connsiteY95" fmla="*/ 607654 h 818790"/>
              <a:gd name="connsiteX96" fmla="*/ 314325 w 817205"/>
              <a:gd name="connsiteY96" fmla="*/ 512763 h 818790"/>
              <a:gd name="connsiteX97" fmla="*/ 552090 w 817205"/>
              <a:gd name="connsiteY97" fmla="*/ 512763 h 818790"/>
              <a:gd name="connsiteX98" fmla="*/ 552090 w 817205"/>
              <a:gd name="connsiteY98" fmla="*/ 531460 h 818790"/>
              <a:gd name="connsiteX99" fmla="*/ 433208 w 817205"/>
              <a:gd name="connsiteY99" fmla="*/ 531460 h 818790"/>
              <a:gd name="connsiteX100" fmla="*/ 314325 w 817205"/>
              <a:gd name="connsiteY100" fmla="*/ 531460 h 818790"/>
              <a:gd name="connsiteX101" fmla="*/ 19081 w 817205"/>
              <a:gd name="connsiteY101" fmla="*/ 495091 h 818790"/>
              <a:gd name="connsiteX102" fmla="*/ 19081 w 817205"/>
              <a:gd name="connsiteY102" fmla="*/ 799707 h 818790"/>
              <a:gd name="connsiteX103" fmla="*/ 247691 w 817205"/>
              <a:gd name="connsiteY103" fmla="*/ 799707 h 818790"/>
              <a:gd name="connsiteX104" fmla="*/ 247691 w 817205"/>
              <a:gd name="connsiteY104" fmla="*/ 495091 h 818790"/>
              <a:gd name="connsiteX105" fmla="*/ 314325 w 817205"/>
              <a:gd name="connsiteY105" fmla="*/ 474663 h 818790"/>
              <a:gd name="connsiteX106" fmla="*/ 590190 w 817205"/>
              <a:gd name="connsiteY106" fmla="*/ 474663 h 818790"/>
              <a:gd name="connsiteX107" fmla="*/ 590190 w 817205"/>
              <a:gd name="connsiteY107" fmla="*/ 493360 h 818790"/>
              <a:gd name="connsiteX108" fmla="*/ 452258 w 817205"/>
              <a:gd name="connsiteY108" fmla="*/ 493360 h 818790"/>
              <a:gd name="connsiteX109" fmla="*/ 314325 w 817205"/>
              <a:gd name="connsiteY109" fmla="*/ 493360 h 818790"/>
              <a:gd name="connsiteX110" fmla="*/ 495300 w 817205"/>
              <a:gd name="connsiteY110" fmla="*/ 361950 h 818790"/>
              <a:gd name="connsiteX111" fmla="*/ 495300 w 817205"/>
              <a:gd name="connsiteY111" fmla="*/ 400050 h 818790"/>
              <a:gd name="connsiteX112" fmla="*/ 571141 w 817205"/>
              <a:gd name="connsiteY112" fmla="*/ 400050 h 818790"/>
              <a:gd name="connsiteX113" fmla="*/ 571141 w 817205"/>
              <a:gd name="connsiteY113" fmla="*/ 361950 h 818790"/>
              <a:gd name="connsiteX114" fmla="*/ 333435 w 817205"/>
              <a:gd name="connsiteY114" fmla="*/ 361950 h 818790"/>
              <a:gd name="connsiteX115" fmla="*/ 333435 w 817205"/>
              <a:gd name="connsiteY115" fmla="*/ 400050 h 818790"/>
              <a:gd name="connsiteX116" fmla="*/ 409515 w 817205"/>
              <a:gd name="connsiteY116" fmla="*/ 400050 h 818790"/>
              <a:gd name="connsiteX117" fmla="*/ 409515 w 817205"/>
              <a:gd name="connsiteY117" fmla="*/ 361950 h 818790"/>
              <a:gd name="connsiteX118" fmla="*/ 171390 w 817205"/>
              <a:gd name="connsiteY118" fmla="*/ 361950 h 818790"/>
              <a:gd name="connsiteX119" fmla="*/ 171390 w 817205"/>
              <a:gd name="connsiteY119" fmla="*/ 400050 h 818790"/>
              <a:gd name="connsiteX120" fmla="*/ 247352 w 817205"/>
              <a:gd name="connsiteY120" fmla="*/ 400050 h 818790"/>
              <a:gd name="connsiteX121" fmla="*/ 247352 w 817205"/>
              <a:gd name="connsiteY121" fmla="*/ 361950 h 818790"/>
              <a:gd name="connsiteX122" fmla="*/ 476250 w 817205"/>
              <a:gd name="connsiteY122" fmla="*/ 342900 h 818790"/>
              <a:gd name="connsiteX123" fmla="*/ 590191 w 817205"/>
              <a:gd name="connsiteY123" fmla="*/ 342900 h 818790"/>
              <a:gd name="connsiteX124" fmla="*/ 590191 w 817205"/>
              <a:gd name="connsiteY124" fmla="*/ 418741 h 818790"/>
              <a:gd name="connsiteX125" fmla="*/ 476250 w 817205"/>
              <a:gd name="connsiteY125" fmla="*/ 418741 h 818790"/>
              <a:gd name="connsiteX126" fmla="*/ 314325 w 817205"/>
              <a:gd name="connsiteY126" fmla="*/ 342900 h 818790"/>
              <a:gd name="connsiteX127" fmla="*/ 428265 w 817205"/>
              <a:gd name="connsiteY127" fmla="*/ 342900 h 818790"/>
              <a:gd name="connsiteX128" fmla="*/ 428265 w 817205"/>
              <a:gd name="connsiteY128" fmla="*/ 418741 h 818790"/>
              <a:gd name="connsiteX129" fmla="*/ 314325 w 817205"/>
              <a:gd name="connsiteY129" fmla="*/ 418741 h 818790"/>
              <a:gd name="connsiteX130" fmla="*/ 152400 w 817205"/>
              <a:gd name="connsiteY130" fmla="*/ 342900 h 818790"/>
              <a:gd name="connsiteX131" fmla="*/ 266342 w 817205"/>
              <a:gd name="connsiteY131" fmla="*/ 342900 h 818790"/>
              <a:gd name="connsiteX132" fmla="*/ 266342 w 817205"/>
              <a:gd name="connsiteY132" fmla="*/ 418741 h 818790"/>
              <a:gd name="connsiteX133" fmla="*/ 152400 w 817205"/>
              <a:gd name="connsiteY133" fmla="*/ 418741 h 818790"/>
              <a:gd name="connsiteX134" fmla="*/ 722254 w 817205"/>
              <a:gd name="connsiteY134" fmla="*/ 266880 h 818790"/>
              <a:gd name="connsiteX135" fmla="*/ 722254 w 817205"/>
              <a:gd name="connsiteY135" fmla="*/ 532920 h 818790"/>
              <a:gd name="connsiteX136" fmla="*/ 760234 w 817205"/>
              <a:gd name="connsiteY136" fmla="*/ 532920 h 818790"/>
              <a:gd name="connsiteX137" fmla="*/ 760234 w 817205"/>
              <a:gd name="connsiteY137" fmla="*/ 266880 h 818790"/>
              <a:gd name="connsiteX138" fmla="*/ 741244 w 817205"/>
              <a:gd name="connsiteY138" fmla="*/ 203880 h 818790"/>
              <a:gd name="connsiteX139" fmla="*/ 723687 w 817205"/>
              <a:gd name="connsiteY139" fmla="*/ 247800 h 818790"/>
              <a:gd name="connsiteX140" fmla="*/ 758801 w 817205"/>
              <a:gd name="connsiteY140" fmla="*/ 247800 h 818790"/>
              <a:gd name="connsiteX141" fmla="*/ 741244 w 817205"/>
              <a:gd name="connsiteY141" fmla="*/ 152400 h 818790"/>
              <a:gd name="connsiteX142" fmla="*/ 779224 w 817205"/>
              <a:gd name="connsiteY142" fmla="*/ 247800 h 818790"/>
              <a:gd name="connsiteX143" fmla="*/ 779224 w 817205"/>
              <a:gd name="connsiteY143" fmla="*/ 532920 h 818790"/>
              <a:gd name="connsiteX144" fmla="*/ 783882 w 817205"/>
              <a:gd name="connsiteY144" fmla="*/ 531840 h 818790"/>
              <a:gd name="connsiteX145" fmla="*/ 787465 w 817205"/>
              <a:gd name="connsiteY145" fmla="*/ 528240 h 818790"/>
              <a:gd name="connsiteX146" fmla="*/ 788540 w 817205"/>
              <a:gd name="connsiteY146" fmla="*/ 523560 h 818790"/>
              <a:gd name="connsiteX147" fmla="*/ 788540 w 817205"/>
              <a:gd name="connsiteY147" fmla="*/ 418800 h 818790"/>
              <a:gd name="connsiteX148" fmla="*/ 817205 w 817205"/>
              <a:gd name="connsiteY148" fmla="*/ 381000 h 818790"/>
              <a:gd name="connsiteX149" fmla="*/ 817205 w 817205"/>
              <a:gd name="connsiteY149" fmla="*/ 400080 h 818790"/>
              <a:gd name="connsiteX150" fmla="*/ 807531 w 817205"/>
              <a:gd name="connsiteY150" fmla="*/ 418800 h 818790"/>
              <a:gd name="connsiteX151" fmla="*/ 807531 w 817205"/>
              <a:gd name="connsiteY151" fmla="*/ 523560 h 818790"/>
              <a:gd name="connsiteX152" fmla="*/ 803948 w 817205"/>
              <a:gd name="connsiteY152" fmla="*/ 537960 h 818790"/>
              <a:gd name="connsiteX153" fmla="*/ 793557 w 817205"/>
              <a:gd name="connsiteY153" fmla="*/ 548400 h 818790"/>
              <a:gd name="connsiteX154" fmla="*/ 779224 w 817205"/>
              <a:gd name="connsiteY154" fmla="*/ 552000 h 818790"/>
              <a:gd name="connsiteX155" fmla="*/ 779224 w 817205"/>
              <a:gd name="connsiteY155" fmla="*/ 571080 h 818790"/>
              <a:gd name="connsiteX156" fmla="*/ 774208 w 817205"/>
              <a:gd name="connsiteY156" fmla="*/ 590160 h 818790"/>
              <a:gd name="connsiteX157" fmla="*/ 760234 w 817205"/>
              <a:gd name="connsiteY157" fmla="*/ 604200 h 818790"/>
              <a:gd name="connsiteX158" fmla="*/ 741244 w 817205"/>
              <a:gd name="connsiteY158" fmla="*/ 609240 h 818790"/>
              <a:gd name="connsiteX159" fmla="*/ 722254 w 817205"/>
              <a:gd name="connsiteY159" fmla="*/ 604200 h 818790"/>
              <a:gd name="connsiteX160" fmla="*/ 708638 w 817205"/>
              <a:gd name="connsiteY160" fmla="*/ 590160 h 818790"/>
              <a:gd name="connsiteX161" fmla="*/ 703263 w 817205"/>
              <a:gd name="connsiteY161" fmla="*/ 571080 h 818790"/>
              <a:gd name="connsiteX162" fmla="*/ 703263 w 817205"/>
              <a:gd name="connsiteY162" fmla="*/ 247800 h 818790"/>
              <a:gd name="connsiteX163" fmla="*/ 209550 w 817205"/>
              <a:gd name="connsiteY163" fmla="*/ 95250 h 818790"/>
              <a:gd name="connsiteX164" fmla="*/ 285392 w 817205"/>
              <a:gd name="connsiteY164" fmla="*/ 95250 h 818790"/>
              <a:gd name="connsiteX165" fmla="*/ 285392 w 817205"/>
              <a:gd name="connsiteY165" fmla="*/ 113947 h 818790"/>
              <a:gd name="connsiteX166" fmla="*/ 247471 w 817205"/>
              <a:gd name="connsiteY166" fmla="*/ 113947 h 818790"/>
              <a:gd name="connsiteX167" fmla="*/ 209550 w 817205"/>
              <a:gd name="connsiteY167" fmla="*/ 113947 h 818790"/>
              <a:gd name="connsiteX168" fmla="*/ 209550 w 817205"/>
              <a:gd name="connsiteY168" fmla="*/ 57150 h 818790"/>
              <a:gd name="connsiteX169" fmla="*/ 342541 w 817205"/>
              <a:gd name="connsiteY169" fmla="*/ 57150 h 818790"/>
              <a:gd name="connsiteX170" fmla="*/ 342541 w 817205"/>
              <a:gd name="connsiteY170" fmla="*/ 75847 h 818790"/>
              <a:gd name="connsiteX171" fmla="*/ 276046 w 817205"/>
              <a:gd name="connsiteY171" fmla="*/ 75847 h 818790"/>
              <a:gd name="connsiteX172" fmla="*/ 209550 w 817205"/>
              <a:gd name="connsiteY172" fmla="*/ 75847 h 818790"/>
              <a:gd name="connsiteX173" fmla="*/ 152400 w 817205"/>
              <a:gd name="connsiteY173" fmla="*/ 57150 h 818790"/>
              <a:gd name="connsiteX174" fmla="*/ 171481 w 817205"/>
              <a:gd name="connsiteY174" fmla="*/ 57150 h 818790"/>
              <a:gd name="connsiteX175" fmla="*/ 171481 w 817205"/>
              <a:gd name="connsiteY175" fmla="*/ 272811 h 818790"/>
              <a:gd name="connsiteX176" fmla="*/ 225125 w 817205"/>
              <a:gd name="connsiteY176" fmla="*/ 228241 h 818790"/>
              <a:gd name="connsiteX177" fmla="*/ 281289 w 817205"/>
              <a:gd name="connsiteY177" fmla="*/ 228241 h 818790"/>
              <a:gd name="connsiteX178" fmla="*/ 329172 w 817205"/>
              <a:gd name="connsiteY178" fmla="*/ 171091 h 818790"/>
              <a:gd name="connsiteX179" fmla="*/ 386056 w 817205"/>
              <a:gd name="connsiteY179" fmla="*/ 171091 h 818790"/>
              <a:gd name="connsiteX180" fmla="*/ 423859 w 817205"/>
              <a:gd name="connsiteY180" fmla="*/ 123645 h 818790"/>
              <a:gd name="connsiteX181" fmla="*/ 489743 w 817205"/>
              <a:gd name="connsiteY181" fmla="*/ 123645 h 818790"/>
              <a:gd name="connsiteX182" fmla="*/ 527906 w 817205"/>
              <a:gd name="connsiteY182" fmla="*/ 66495 h 818790"/>
              <a:gd name="connsiteX183" fmla="*/ 590190 w 817205"/>
              <a:gd name="connsiteY183" fmla="*/ 66495 h 818790"/>
              <a:gd name="connsiteX184" fmla="*/ 590190 w 817205"/>
              <a:gd name="connsiteY184" fmla="*/ 85545 h 818790"/>
              <a:gd name="connsiteX185" fmla="*/ 537987 w 817205"/>
              <a:gd name="connsiteY185" fmla="*/ 85545 h 818790"/>
              <a:gd name="connsiteX186" fmla="*/ 500184 w 817205"/>
              <a:gd name="connsiteY186" fmla="*/ 142695 h 818790"/>
              <a:gd name="connsiteX187" fmla="*/ 432859 w 817205"/>
              <a:gd name="connsiteY187" fmla="*/ 142695 h 818790"/>
              <a:gd name="connsiteX188" fmla="*/ 395057 w 817205"/>
              <a:gd name="connsiteY188" fmla="*/ 190141 h 818790"/>
              <a:gd name="connsiteX189" fmla="*/ 337813 w 817205"/>
              <a:gd name="connsiteY189" fmla="*/ 190141 h 818790"/>
              <a:gd name="connsiteX190" fmla="*/ 290290 w 817205"/>
              <a:gd name="connsiteY190" fmla="*/ 247291 h 818790"/>
              <a:gd name="connsiteX191" fmla="*/ 232326 w 817205"/>
              <a:gd name="connsiteY191" fmla="*/ 247291 h 818790"/>
              <a:gd name="connsiteX192" fmla="*/ 186602 w 817205"/>
              <a:gd name="connsiteY192" fmla="*/ 285391 h 818790"/>
              <a:gd name="connsiteX193" fmla="*/ 590190 w 817205"/>
              <a:gd name="connsiteY193" fmla="*/ 285391 h 818790"/>
              <a:gd name="connsiteX194" fmla="*/ 590190 w 817205"/>
              <a:gd name="connsiteY194" fmla="*/ 304441 h 818790"/>
              <a:gd name="connsiteX195" fmla="*/ 152400 w 817205"/>
              <a:gd name="connsiteY195" fmla="*/ 304441 h 818790"/>
              <a:gd name="connsiteX196" fmla="*/ 95404 w 817205"/>
              <a:gd name="connsiteY196" fmla="*/ 19083 h 818790"/>
              <a:gd name="connsiteX197" fmla="*/ 95404 w 817205"/>
              <a:gd name="connsiteY197" fmla="*/ 476007 h 818790"/>
              <a:gd name="connsiteX198" fmla="*/ 266772 w 817205"/>
              <a:gd name="connsiteY198" fmla="*/ 476007 h 818790"/>
              <a:gd name="connsiteX199" fmla="*/ 266772 w 817205"/>
              <a:gd name="connsiteY199" fmla="*/ 761540 h 818790"/>
              <a:gd name="connsiteX200" fmla="*/ 532824 w 817205"/>
              <a:gd name="connsiteY200" fmla="*/ 761540 h 818790"/>
              <a:gd name="connsiteX201" fmla="*/ 532824 w 817205"/>
              <a:gd name="connsiteY201" fmla="*/ 647399 h 818790"/>
              <a:gd name="connsiteX202" fmla="*/ 647309 w 817205"/>
              <a:gd name="connsiteY202" fmla="*/ 647399 h 818790"/>
              <a:gd name="connsiteX203" fmla="*/ 647309 w 817205"/>
              <a:gd name="connsiteY203" fmla="*/ 19083 h 818790"/>
              <a:gd name="connsiteX204" fmla="*/ 76323 w 817205"/>
              <a:gd name="connsiteY204" fmla="*/ 0 h 818790"/>
              <a:gd name="connsiteX205" fmla="*/ 666390 w 817205"/>
              <a:gd name="connsiteY205" fmla="*/ 0 h 818790"/>
              <a:gd name="connsiteX206" fmla="*/ 666390 w 817205"/>
              <a:gd name="connsiteY206" fmla="*/ 660361 h 818790"/>
              <a:gd name="connsiteX207" fmla="*/ 666390 w 817205"/>
              <a:gd name="connsiteY207" fmla="*/ 666482 h 818790"/>
              <a:gd name="connsiteX208" fmla="*/ 609868 w 817205"/>
              <a:gd name="connsiteY208" fmla="*/ 723013 h 818790"/>
              <a:gd name="connsiteX209" fmla="*/ 557305 w 817205"/>
              <a:gd name="connsiteY209" fmla="*/ 780623 h 818790"/>
              <a:gd name="connsiteX210" fmla="*/ 266772 w 817205"/>
              <a:gd name="connsiteY210" fmla="*/ 780623 h 818790"/>
              <a:gd name="connsiteX211" fmla="*/ 266772 w 817205"/>
              <a:gd name="connsiteY211" fmla="*/ 818790 h 818790"/>
              <a:gd name="connsiteX212" fmla="*/ 0 w 817205"/>
              <a:gd name="connsiteY212" fmla="*/ 818790 h 818790"/>
              <a:gd name="connsiteX213" fmla="*/ 0 w 817205"/>
              <a:gd name="connsiteY213" fmla="*/ 476007 h 818790"/>
              <a:gd name="connsiteX214" fmla="*/ 76323 w 817205"/>
              <a:gd name="connsiteY214" fmla="*/ 476007 h 818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</a:cxnLst>
            <a:rect l="l" t="t" r="r" b="b"/>
            <a:pathLst>
              <a:path w="817205" h="818790">
                <a:moveTo>
                  <a:pt x="142875" y="731838"/>
                </a:moveTo>
                <a:lnTo>
                  <a:pt x="171093" y="731838"/>
                </a:lnTo>
                <a:lnTo>
                  <a:pt x="171093" y="760056"/>
                </a:lnTo>
                <a:lnTo>
                  <a:pt x="157162" y="760056"/>
                </a:lnTo>
                <a:lnTo>
                  <a:pt x="142875" y="760056"/>
                </a:lnTo>
                <a:close/>
                <a:moveTo>
                  <a:pt x="95250" y="731838"/>
                </a:moveTo>
                <a:lnTo>
                  <a:pt x="123468" y="731838"/>
                </a:lnTo>
                <a:lnTo>
                  <a:pt x="123468" y="760056"/>
                </a:lnTo>
                <a:lnTo>
                  <a:pt x="109180" y="760056"/>
                </a:lnTo>
                <a:lnTo>
                  <a:pt x="95250" y="760056"/>
                </a:lnTo>
                <a:close/>
                <a:moveTo>
                  <a:pt x="47625" y="731838"/>
                </a:moveTo>
                <a:lnTo>
                  <a:pt x="75847" y="731838"/>
                </a:lnTo>
                <a:lnTo>
                  <a:pt x="75847" y="760056"/>
                </a:lnTo>
                <a:lnTo>
                  <a:pt x="61736" y="760056"/>
                </a:lnTo>
                <a:lnTo>
                  <a:pt x="47625" y="760056"/>
                </a:lnTo>
                <a:close/>
                <a:moveTo>
                  <a:pt x="314325" y="684213"/>
                </a:moveTo>
                <a:lnTo>
                  <a:pt x="456840" y="684213"/>
                </a:lnTo>
                <a:lnTo>
                  <a:pt x="456840" y="702904"/>
                </a:lnTo>
                <a:lnTo>
                  <a:pt x="385583" y="702904"/>
                </a:lnTo>
                <a:lnTo>
                  <a:pt x="314325" y="702904"/>
                </a:lnTo>
                <a:close/>
                <a:moveTo>
                  <a:pt x="190500" y="684213"/>
                </a:moveTo>
                <a:lnTo>
                  <a:pt x="218722" y="684213"/>
                </a:lnTo>
                <a:lnTo>
                  <a:pt x="218722" y="760054"/>
                </a:lnTo>
                <a:lnTo>
                  <a:pt x="204611" y="760054"/>
                </a:lnTo>
                <a:lnTo>
                  <a:pt x="190500" y="760054"/>
                </a:lnTo>
                <a:close/>
                <a:moveTo>
                  <a:pt x="142875" y="684213"/>
                </a:moveTo>
                <a:lnTo>
                  <a:pt x="171093" y="684213"/>
                </a:lnTo>
                <a:lnTo>
                  <a:pt x="171093" y="712431"/>
                </a:lnTo>
                <a:lnTo>
                  <a:pt x="157162" y="712431"/>
                </a:lnTo>
                <a:lnTo>
                  <a:pt x="142875" y="712431"/>
                </a:lnTo>
                <a:close/>
                <a:moveTo>
                  <a:pt x="95250" y="684213"/>
                </a:moveTo>
                <a:lnTo>
                  <a:pt x="123468" y="684213"/>
                </a:lnTo>
                <a:lnTo>
                  <a:pt x="123468" y="712431"/>
                </a:lnTo>
                <a:lnTo>
                  <a:pt x="109180" y="712431"/>
                </a:lnTo>
                <a:lnTo>
                  <a:pt x="95250" y="712431"/>
                </a:lnTo>
                <a:close/>
                <a:moveTo>
                  <a:pt x="47625" y="684213"/>
                </a:moveTo>
                <a:lnTo>
                  <a:pt x="75847" y="684213"/>
                </a:lnTo>
                <a:lnTo>
                  <a:pt x="75847" y="712431"/>
                </a:lnTo>
                <a:lnTo>
                  <a:pt x="61736" y="712431"/>
                </a:lnTo>
                <a:lnTo>
                  <a:pt x="47625" y="712431"/>
                </a:lnTo>
                <a:close/>
                <a:moveTo>
                  <a:pt x="551905" y="666482"/>
                </a:moveTo>
                <a:lnTo>
                  <a:pt x="551905" y="753618"/>
                </a:lnTo>
                <a:lnTo>
                  <a:pt x="595827" y="709690"/>
                </a:lnTo>
                <a:lnTo>
                  <a:pt x="635069" y="666482"/>
                </a:lnTo>
                <a:close/>
                <a:moveTo>
                  <a:pt x="314325" y="646113"/>
                </a:moveTo>
                <a:lnTo>
                  <a:pt x="513990" y="646113"/>
                </a:lnTo>
                <a:lnTo>
                  <a:pt x="513990" y="664810"/>
                </a:lnTo>
                <a:lnTo>
                  <a:pt x="414158" y="664810"/>
                </a:lnTo>
                <a:lnTo>
                  <a:pt x="314325" y="664810"/>
                </a:lnTo>
                <a:close/>
                <a:moveTo>
                  <a:pt x="190500" y="636588"/>
                </a:moveTo>
                <a:lnTo>
                  <a:pt x="218722" y="636588"/>
                </a:lnTo>
                <a:lnTo>
                  <a:pt x="218722" y="664810"/>
                </a:lnTo>
                <a:lnTo>
                  <a:pt x="204611" y="664810"/>
                </a:lnTo>
                <a:lnTo>
                  <a:pt x="190500" y="664810"/>
                </a:lnTo>
                <a:close/>
                <a:moveTo>
                  <a:pt x="142875" y="636588"/>
                </a:moveTo>
                <a:lnTo>
                  <a:pt x="171093" y="636588"/>
                </a:lnTo>
                <a:lnTo>
                  <a:pt x="171093" y="664810"/>
                </a:lnTo>
                <a:lnTo>
                  <a:pt x="157162" y="664810"/>
                </a:lnTo>
                <a:lnTo>
                  <a:pt x="142875" y="664810"/>
                </a:lnTo>
                <a:close/>
                <a:moveTo>
                  <a:pt x="95250" y="636588"/>
                </a:moveTo>
                <a:lnTo>
                  <a:pt x="123468" y="636588"/>
                </a:lnTo>
                <a:lnTo>
                  <a:pt x="123468" y="664810"/>
                </a:lnTo>
                <a:lnTo>
                  <a:pt x="109180" y="664810"/>
                </a:lnTo>
                <a:lnTo>
                  <a:pt x="95250" y="664810"/>
                </a:lnTo>
                <a:close/>
                <a:moveTo>
                  <a:pt x="47625" y="636588"/>
                </a:moveTo>
                <a:lnTo>
                  <a:pt x="75847" y="636588"/>
                </a:lnTo>
                <a:lnTo>
                  <a:pt x="75847" y="664810"/>
                </a:lnTo>
                <a:lnTo>
                  <a:pt x="61736" y="664810"/>
                </a:lnTo>
                <a:lnTo>
                  <a:pt x="47625" y="664810"/>
                </a:lnTo>
                <a:close/>
                <a:moveTo>
                  <a:pt x="314325" y="588963"/>
                </a:moveTo>
                <a:lnTo>
                  <a:pt x="475890" y="588963"/>
                </a:lnTo>
                <a:lnTo>
                  <a:pt x="475890" y="607660"/>
                </a:lnTo>
                <a:lnTo>
                  <a:pt x="395288" y="607660"/>
                </a:lnTo>
                <a:lnTo>
                  <a:pt x="314325" y="607660"/>
                </a:lnTo>
                <a:close/>
                <a:moveTo>
                  <a:pt x="722254" y="552000"/>
                </a:moveTo>
                <a:lnTo>
                  <a:pt x="722254" y="571080"/>
                </a:lnTo>
                <a:cubicBezTo>
                  <a:pt x="722254" y="574680"/>
                  <a:pt x="723328" y="577920"/>
                  <a:pt x="724762" y="580800"/>
                </a:cubicBezTo>
                <a:cubicBezTo>
                  <a:pt x="726553" y="584040"/>
                  <a:pt x="729061" y="585840"/>
                  <a:pt x="731928" y="587640"/>
                </a:cubicBezTo>
                <a:cubicBezTo>
                  <a:pt x="735153" y="589440"/>
                  <a:pt x="737661" y="590160"/>
                  <a:pt x="741244" y="590160"/>
                </a:cubicBezTo>
                <a:cubicBezTo>
                  <a:pt x="744827" y="590160"/>
                  <a:pt x="748052" y="589440"/>
                  <a:pt x="750918" y="587640"/>
                </a:cubicBezTo>
                <a:cubicBezTo>
                  <a:pt x="754143" y="585840"/>
                  <a:pt x="755934" y="584040"/>
                  <a:pt x="757726" y="580800"/>
                </a:cubicBezTo>
                <a:cubicBezTo>
                  <a:pt x="759517" y="577920"/>
                  <a:pt x="760234" y="574680"/>
                  <a:pt x="760234" y="571080"/>
                </a:cubicBezTo>
                <a:lnTo>
                  <a:pt x="760234" y="552000"/>
                </a:lnTo>
                <a:close/>
                <a:moveTo>
                  <a:pt x="314325" y="550863"/>
                </a:moveTo>
                <a:lnTo>
                  <a:pt x="590190" y="550863"/>
                </a:lnTo>
                <a:lnTo>
                  <a:pt x="590190" y="569560"/>
                </a:lnTo>
                <a:lnTo>
                  <a:pt x="452258" y="569560"/>
                </a:lnTo>
                <a:lnTo>
                  <a:pt x="314325" y="569560"/>
                </a:lnTo>
                <a:close/>
                <a:moveTo>
                  <a:pt x="66635" y="541298"/>
                </a:moveTo>
                <a:lnTo>
                  <a:pt x="66635" y="588644"/>
                </a:lnTo>
                <a:lnTo>
                  <a:pt x="199706" y="588644"/>
                </a:lnTo>
                <a:lnTo>
                  <a:pt x="199706" y="541298"/>
                </a:lnTo>
                <a:close/>
                <a:moveTo>
                  <a:pt x="47625" y="522288"/>
                </a:moveTo>
                <a:lnTo>
                  <a:pt x="218717" y="522288"/>
                </a:lnTo>
                <a:lnTo>
                  <a:pt x="218717" y="607654"/>
                </a:lnTo>
                <a:lnTo>
                  <a:pt x="47625" y="607654"/>
                </a:lnTo>
                <a:close/>
                <a:moveTo>
                  <a:pt x="314325" y="512763"/>
                </a:moveTo>
                <a:lnTo>
                  <a:pt x="552090" y="512763"/>
                </a:lnTo>
                <a:lnTo>
                  <a:pt x="552090" y="531460"/>
                </a:lnTo>
                <a:lnTo>
                  <a:pt x="433208" y="531460"/>
                </a:lnTo>
                <a:lnTo>
                  <a:pt x="314325" y="531460"/>
                </a:lnTo>
                <a:close/>
                <a:moveTo>
                  <a:pt x="19081" y="495091"/>
                </a:moveTo>
                <a:lnTo>
                  <a:pt x="19081" y="799707"/>
                </a:lnTo>
                <a:lnTo>
                  <a:pt x="247691" y="799707"/>
                </a:lnTo>
                <a:lnTo>
                  <a:pt x="247691" y="495091"/>
                </a:lnTo>
                <a:close/>
                <a:moveTo>
                  <a:pt x="314325" y="474663"/>
                </a:moveTo>
                <a:lnTo>
                  <a:pt x="590190" y="474663"/>
                </a:lnTo>
                <a:lnTo>
                  <a:pt x="590190" y="493360"/>
                </a:lnTo>
                <a:lnTo>
                  <a:pt x="452258" y="493360"/>
                </a:lnTo>
                <a:lnTo>
                  <a:pt x="314325" y="493360"/>
                </a:lnTo>
                <a:close/>
                <a:moveTo>
                  <a:pt x="495300" y="361950"/>
                </a:moveTo>
                <a:lnTo>
                  <a:pt x="495300" y="400050"/>
                </a:lnTo>
                <a:lnTo>
                  <a:pt x="571141" y="400050"/>
                </a:lnTo>
                <a:lnTo>
                  <a:pt x="571141" y="361950"/>
                </a:lnTo>
                <a:close/>
                <a:moveTo>
                  <a:pt x="333435" y="361950"/>
                </a:moveTo>
                <a:lnTo>
                  <a:pt x="333435" y="400050"/>
                </a:lnTo>
                <a:lnTo>
                  <a:pt x="409515" y="400050"/>
                </a:lnTo>
                <a:lnTo>
                  <a:pt x="409515" y="361950"/>
                </a:lnTo>
                <a:close/>
                <a:moveTo>
                  <a:pt x="171390" y="361950"/>
                </a:moveTo>
                <a:lnTo>
                  <a:pt x="171390" y="400050"/>
                </a:lnTo>
                <a:lnTo>
                  <a:pt x="247352" y="400050"/>
                </a:lnTo>
                <a:lnTo>
                  <a:pt x="247352" y="361950"/>
                </a:lnTo>
                <a:close/>
                <a:moveTo>
                  <a:pt x="476250" y="342900"/>
                </a:moveTo>
                <a:lnTo>
                  <a:pt x="590191" y="342900"/>
                </a:lnTo>
                <a:lnTo>
                  <a:pt x="590191" y="418741"/>
                </a:lnTo>
                <a:lnTo>
                  <a:pt x="476250" y="418741"/>
                </a:lnTo>
                <a:close/>
                <a:moveTo>
                  <a:pt x="314325" y="342900"/>
                </a:moveTo>
                <a:lnTo>
                  <a:pt x="428265" y="342900"/>
                </a:lnTo>
                <a:lnTo>
                  <a:pt x="428265" y="418741"/>
                </a:lnTo>
                <a:lnTo>
                  <a:pt x="314325" y="418741"/>
                </a:lnTo>
                <a:close/>
                <a:moveTo>
                  <a:pt x="152400" y="342900"/>
                </a:moveTo>
                <a:lnTo>
                  <a:pt x="266342" y="342900"/>
                </a:lnTo>
                <a:lnTo>
                  <a:pt x="266342" y="418741"/>
                </a:lnTo>
                <a:lnTo>
                  <a:pt x="152400" y="418741"/>
                </a:lnTo>
                <a:close/>
                <a:moveTo>
                  <a:pt x="722254" y="266880"/>
                </a:moveTo>
                <a:lnTo>
                  <a:pt x="722254" y="532920"/>
                </a:lnTo>
                <a:lnTo>
                  <a:pt x="760234" y="532920"/>
                </a:lnTo>
                <a:lnTo>
                  <a:pt x="760234" y="266880"/>
                </a:lnTo>
                <a:close/>
                <a:moveTo>
                  <a:pt x="741244" y="203880"/>
                </a:moveTo>
                <a:lnTo>
                  <a:pt x="723687" y="247800"/>
                </a:lnTo>
                <a:lnTo>
                  <a:pt x="758801" y="247800"/>
                </a:lnTo>
                <a:close/>
                <a:moveTo>
                  <a:pt x="741244" y="152400"/>
                </a:moveTo>
                <a:lnTo>
                  <a:pt x="779224" y="247800"/>
                </a:lnTo>
                <a:lnTo>
                  <a:pt x="779224" y="532920"/>
                </a:lnTo>
                <a:cubicBezTo>
                  <a:pt x="781016" y="532920"/>
                  <a:pt x="782449" y="532920"/>
                  <a:pt x="783882" y="531840"/>
                </a:cubicBezTo>
                <a:cubicBezTo>
                  <a:pt x="785316" y="531120"/>
                  <a:pt x="786391" y="530040"/>
                  <a:pt x="787465" y="528240"/>
                </a:cubicBezTo>
                <a:cubicBezTo>
                  <a:pt x="788182" y="527160"/>
                  <a:pt x="788540" y="525360"/>
                  <a:pt x="788540" y="523560"/>
                </a:cubicBezTo>
                <a:lnTo>
                  <a:pt x="788540" y="418800"/>
                </a:lnTo>
                <a:cubicBezTo>
                  <a:pt x="788540" y="388920"/>
                  <a:pt x="807172" y="381000"/>
                  <a:pt x="817205" y="381000"/>
                </a:cubicBezTo>
                <a:lnTo>
                  <a:pt x="817205" y="400080"/>
                </a:lnTo>
                <a:cubicBezTo>
                  <a:pt x="815772" y="400080"/>
                  <a:pt x="807531" y="401520"/>
                  <a:pt x="807531" y="418800"/>
                </a:cubicBezTo>
                <a:lnTo>
                  <a:pt x="807531" y="523560"/>
                </a:lnTo>
                <a:cubicBezTo>
                  <a:pt x="807531" y="528600"/>
                  <a:pt x="806814" y="533640"/>
                  <a:pt x="803948" y="537960"/>
                </a:cubicBezTo>
                <a:cubicBezTo>
                  <a:pt x="801439" y="542640"/>
                  <a:pt x="797856" y="545880"/>
                  <a:pt x="793557" y="548400"/>
                </a:cubicBezTo>
                <a:cubicBezTo>
                  <a:pt x="788899" y="551280"/>
                  <a:pt x="784599" y="552000"/>
                  <a:pt x="779224" y="552000"/>
                </a:cubicBezTo>
                <a:lnTo>
                  <a:pt x="779224" y="571080"/>
                </a:lnTo>
                <a:cubicBezTo>
                  <a:pt x="779224" y="578280"/>
                  <a:pt x="777791" y="584040"/>
                  <a:pt x="774208" y="590160"/>
                </a:cubicBezTo>
                <a:cubicBezTo>
                  <a:pt x="770625" y="596280"/>
                  <a:pt x="766325" y="600960"/>
                  <a:pt x="760234" y="604200"/>
                </a:cubicBezTo>
                <a:cubicBezTo>
                  <a:pt x="754143" y="607800"/>
                  <a:pt x="748410" y="609240"/>
                  <a:pt x="741244" y="609240"/>
                </a:cubicBezTo>
                <a:cubicBezTo>
                  <a:pt x="734436" y="609240"/>
                  <a:pt x="728345" y="607800"/>
                  <a:pt x="722254" y="604200"/>
                </a:cubicBezTo>
                <a:cubicBezTo>
                  <a:pt x="716162" y="600960"/>
                  <a:pt x="712221" y="596280"/>
                  <a:pt x="708638" y="590160"/>
                </a:cubicBezTo>
                <a:cubicBezTo>
                  <a:pt x="705413" y="584040"/>
                  <a:pt x="703263" y="578280"/>
                  <a:pt x="703263" y="571080"/>
                </a:cubicBezTo>
                <a:lnTo>
                  <a:pt x="703263" y="247800"/>
                </a:lnTo>
                <a:close/>
                <a:moveTo>
                  <a:pt x="209550" y="95250"/>
                </a:moveTo>
                <a:lnTo>
                  <a:pt x="285392" y="95250"/>
                </a:lnTo>
                <a:lnTo>
                  <a:pt x="285392" y="113947"/>
                </a:lnTo>
                <a:lnTo>
                  <a:pt x="247471" y="113947"/>
                </a:lnTo>
                <a:lnTo>
                  <a:pt x="209550" y="113947"/>
                </a:lnTo>
                <a:close/>
                <a:moveTo>
                  <a:pt x="209550" y="57150"/>
                </a:moveTo>
                <a:lnTo>
                  <a:pt x="342541" y="57150"/>
                </a:lnTo>
                <a:lnTo>
                  <a:pt x="342541" y="75847"/>
                </a:lnTo>
                <a:lnTo>
                  <a:pt x="276046" y="75847"/>
                </a:lnTo>
                <a:lnTo>
                  <a:pt x="209550" y="75847"/>
                </a:lnTo>
                <a:close/>
                <a:moveTo>
                  <a:pt x="152400" y="57150"/>
                </a:moveTo>
                <a:lnTo>
                  <a:pt x="171481" y="57150"/>
                </a:lnTo>
                <a:lnTo>
                  <a:pt x="171481" y="272811"/>
                </a:lnTo>
                <a:lnTo>
                  <a:pt x="225125" y="228241"/>
                </a:lnTo>
                <a:lnTo>
                  <a:pt x="281289" y="228241"/>
                </a:lnTo>
                <a:lnTo>
                  <a:pt x="329172" y="171091"/>
                </a:lnTo>
                <a:lnTo>
                  <a:pt x="386056" y="171091"/>
                </a:lnTo>
                <a:lnTo>
                  <a:pt x="423859" y="123645"/>
                </a:lnTo>
                <a:lnTo>
                  <a:pt x="489743" y="123645"/>
                </a:lnTo>
                <a:lnTo>
                  <a:pt x="527906" y="66495"/>
                </a:lnTo>
                <a:lnTo>
                  <a:pt x="590190" y="66495"/>
                </a:lnTo>
                <a:lnTo>
                  <a:pt x="590190" y="85545"/>
                </a:lnTo>
                <a:lnTo>
                  <a:pt x="537987" y="85545"/>
                </a:lnTo>
                <a:lnTo>
                  <a:pt x="500184" y="142695"/>
                </a:lnTo>
                <a:lnTo>
                  <a:pt x="432859" y="142695"/>
                </a:lnTo>
                <a:lnTo>
                  <a:pt x="395057" y="190141"/>
                </a:lnTo>
                <a:lnTo>
                  <a:pt x="337813" y="190141"/>
                </a:lnTo>
                <a:lnTo>
                  <a:pt x="290290" y="247291"/>
                </a:lnTo>
                <a:lnTo>
                  <a:pt x="232326" y="247291"/>
                </a:lnTo>
                <a:lnTo>
                  <a:pt x="186602" y="285391"/>
                </a:lnTo>
                <a:lnTo>
                  <a:pt x="590190" y="285391"/>
                </a:lnTo>
                <a:lnTo>
                  <a:pt x="590190" y="304441"/>
                </a:lnTo>
                <a:lnTo>
                  <a:pt x="152400" y="304441"/>
                </a:lnTo>
                <a:close/>
                <a:moveTo>
                  <a:pt x="95404" y="19083"/>
                </a:moveTo>
                <a:lnTo>
                  <a:pt x="95404" y="476007"/>
                </a:lnTo>
                <a:lnTo>
                  <a:pt x="266772" y="476007"/>
                </a:lnTo>
                <a:lnTo>
                  <a:pt x="266772" y="761540"/>
                </a:lnTo>
                <a:lnTo>
                  <a:pt x="532824" y="761540"/>
                </a:lnTo>
                <a:lnTo>
                  <a:pt x="532824" y="647399"/>
                </a:lnTo>
                <a:lnTo>
                  <a:pt x="647309" y="647399"/>
                </a:lnTo>
                <a:lnTo>
                  <a:pt x="647309" y="19083"/>
                </a:lnTo>
                <a:close/>
                <a:moveTo>
                  <a:pt x="76323" y="0"/>
                </a:moveTo>
                <a:lnTo>
                  <a:pt x="666390" y="0"/>
                </a:lnTo>
                <a:lnTo>
                  <a:pt x="666390" y="660361"/>
                </a:lnTo>
                <a:lnTo>
                  <a:pt x="666390" y="666482"/>
                </a:lnTo>
                <a:lnTo>
                  <a:pt x="609868" y="723013"/>
                </a:lnTo>
                <a:lnTo>
                  <a:pt x="557305" y="780623"/>
                </a:lnTo>
                <a:lnTo>
                  <a:pt x="266772" y="780623"/>
                </a:lnTo>
                <a:lnTo>
                  <a:pt x="266772" y="818790"/>
                </a:lnTo>
                <a:lnTo>
                  <a:pt x="0" y="818790"/>
                </a:lnTo>
                <a:lnTo>
                  <a:pt x="0" y="476007"/>
                </a:lnTo>
                <a:lnTo>
                  <a:pt x="76323" y="47600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ru-RU"/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10AA889A-77DB-5F4A-B965-5AE8A370079D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10507479" y="822435"/>
            <a:ext cx="468000" cy="46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32E8F83F-79BB-7344-BAE6-9C6771D619FD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9779547" y="822435"/>
            <a:ext cx="468000" cy="46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8218C034-D136-6E41-B59F-6C85362E8046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9192087" y="822435"/>
            <a:ext cx="468000" cy="46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30BF07BA-6F90-7544-9274-18DA3A8B9002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11079071" y="832056"/>
            <a:ext cx="468000" cy="46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6B332359-96B9-5A47-9C66-E57BE93DA797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3904947" y="902173"/>
            <a:ext cx="468000" cy="46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16091091-8500-7C40-858E-6F914AC47B76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340900" y="902173"/>
            <a:ext cx="468000" cy="468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="" xmlns:a16="http://schemas.microsoft.com/office/drawing/2014/main" id="{6DAAD693-BC7C-FC47-8928-D4491D70905D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985428" y="889884"/>
            <a:ext cx="468000" cy="468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="" xmlns:a16="http://schemas.microsoft.com/office/drawing/2014/main" id="{67A49C01-5ED0-084B-A4F0-EDAB54D41D60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1544559" y="832056"/>
            <a:ext cx="468000" cy="4680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="" xmlns:a16="http://schemas.microsoft.com/office/drawing/2014/main" id="{7187F8E4-4E0D-6D4E-85FA-E9E8402C6FEC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2131159" y="896256"/>
            <a:ext cx="468000" cy="468000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="" xmlns:a16="http://schemas.microsoft.com/office/drawing/2014/main" id="{FDC3FC5A-874D-2B4F-AA81-01D595D395FC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2729125" y="902173"/>
            <a:ext cx="468000" cy="468000"/>
          </a:xfrm>
          <a:prstGeom prst="rect">
            <a:avLst/>
          </a:prstGeom>
        </p:spPr>
      </p:pic>
      <p:sp>
        <p:nvSpPr>
          <p:cNvPr id="50" name="Freeform 7">
            <a:extLst>
              <a:ext uri="{FF2B5EF4-FFF2-40B4-BE49-F238E27FC236}">
                <a16:creationId xmlns="" xmlns:a16="http://schemas.microsoft.com/office/drawing/2014/main" id="{2813D186-BADE-8449-BF52-E1962F2C8F0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396759" y="3538180"/>
            <a:ext cx="212725" cy="212725"/>
          </a:xfrm>
          <a:custGeom>
            <a:avLst/>
            <a:gdLst>
              <a:gd name="T0" fmla="*/ 557 w 592"/>
              <a:gd name="T1" fmla="*/ 183 h 590"/>
              <a:gd name="T2" fmla="*/ 543 w 592"/>
              <a:gd name="T3" fmla="*/ 445 h 590"/>
              <a:gd name="T4" fmla="*/ 291 w 592"/>
              <a:gd name="T5" fmla="*/ 589 h 590"/>
              <a:gd name="T6" fmla="*/ 39 w 592"/>
              <a:gd name="T7" fmla="*/ 445 h 590"/>
              <a:gd name="T8" fmla="*/ 39 w 592"/>
              <a:gd name="T9" fmla="*/ 154 h 590"/>
              <a:gd name="T10" fmla="*/ 291 w 592"/>
              <a:gd name="T11" fmla="*/ 9 h 590"/>
              <a:gd name="T12" fmla="*/ 366 w 592"/>
              <a:gd name="T13" fmla="*/ 74 h 590"/>
              <a:gd name="T14" fmla="*/ 290 w 592"/>
              <a:gd name="T15" fmla="*/ 62 h 590"/>
              <a:gd name="T16" fmla="*/ 290 w 592"/>
              <a:gd name="T17" fmla="*/ 62 h 590"/>
              <a:gd name="T18" fmla="*/ 84 w 592"/>
              <a:gd name="T19" fmla="*/ 180 h 590"/>
              <a:gd name="T20" fmla="*/ 84 w 592"/>
              <a:gd name="T21" fmla="*/ 418 h 590"/>
              <a:gd name="T22" fmla="*/ 290 w 592"/>
              <a:gd name="T23" fmla="*/ 537 h 590"/>
              <a:gd name="T24" fmla="*/ 497 w 592"/>
              <a:gd name="T25" fmla="*/ 418 h 590"/>
              <a:gd name="T26" fmla="*/ 528 w 592"/>
              <a:gd name="T27" fmla="*/ 299 h 590"/>
              <a:gd name="T28" fmla="*/ 516 w 592"/>
              <a:gd name="T29" fmla="*/ 224 h 590"/>
              <a:gd name="T30" fmla="*/ 284 w 592"/>
              <a:gd name="T31" fmla="*/ 194 h 590"/>
              <a:gd name="T32" fmla="*/ 331 w 592"/>
              <a:gd name="T33" fmla="*/ 146 h 590"/>
              <a:gd name="T34" fmla="*/ 290 w 592"/>
              <a:gd name="T35" fmla="*/ 141 h 590"/>
              <a:gd name="T36" fmla="*/ 211 w 592"/>
              <a:gd name="T37" fmla="*/ 162 h 590"/>
              <a:gd name="T38" fmla="*/ 132 w 592"/>
              <a:gd name="T39" fmla="*/ 299 h 590"/>
              <a:gd name="T40" fmla="*/ 211 w 592"/>
              <a:gd name="T41" fmla="*/ 437 h 590"/>
              <a:gd name="T42" fmla="*/ 370 w 592"/>
              <a:gd name="T43" fmla="*/ 437 h 590"/>
              <a:gd name="T44" fmla="*/ 449 w 592"/>
              <a:gd name="T45" fmla="*/ 299 h 590"/>
              <a:gd name="T46" fmla="*/ 449 w 592"/>
              <a:gd name="T47" fmla="*/ 299 h 590"/>
              <a:gd name="T48" fmla="*/ 396 w 592"/>
              <a:gd name="T49" fmla="*/ 306 h 590"/>
              <a:gd name="T50" fmla="*/ 382 w 592"/>
              <a:gd name="T51" fmla="*/ 352 h 590"/>
              <a:gd name="T52" fmla="*/ 291 w 592"/>
              <a:gd name="T53" fmla="*/ 405 h 590"/>
              <a:gd name="T54" fmla="*/ 199 w 592"/>
              <a:gd name="T55" fmla="*/ 352 h 590"/>
              <a:gd name="T56" fmla="*/ 199 w 592"/>
              <a:gd name="T57" fmla="*/ 246 h 590"/>
              <a:gd name="T58" fmla="*/ 284 w 592"/>
              <a:gd name="T59" fmla="*/ 194 h 590"/>
              <a:gd name="T60" fmla="*/ 384 w 592"/>
              <a:gd name="T61" fmla="*/ 169 h 590"/>
              <a:gd name="T62" fmla="*/ 272 w 592"/>
              <a:gd name="T63" fmla="*/ 281 h 590"/>
              <a:gd name="T64" fmla="*/ 267 w 592"/>
              <a:gd name="T65" fmla="*/ 286 h 590"/>
              <a:gd name="T66" fmla="*/ 267 w 592"/>
              <a:gd name="T67" fmla="*/ 313 h 590"/>
              <a:gd name="T68" fmla="*/ 290 w 592"/>
              <a:gd name="T69" fmla="*/ 326 h 590"/>
              <a:gd name="T70" fmla="*/ 309 w 592"/>
              <a:gd name="T71" fmla="*/ 318 h 590"/>
              <a:gd name="T72" fmla="*/ 498 w 592"/>
              <a:gd name="T73" fmla="*/ 206 h 590"/>
              <a:gd name="T74" fmla="*/ 535 w 592"/>
              <a:gd name="T75" fmla="*/ 94 h 590"/>
              <a:gd name="T76" fmla="*/ 515 w 592"/>
              <a:gd name="T77" fmla="*/ 38 h 590"/>
              <a:gd name="T78" fmla="*/ 477 w 592"/>
              <a:gd name="T79" fmla="*/ 0 h 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92" h="590">
                <a:moveTo>
                  <a:pt x="557" y="183"/>
                </a:moveTo>
                <a:lnTo>
                  <a:pt x="557" y="183"/>
                </a:lnTo>
                <a:cubicBezTo>
                  <a:pt x="574" y="221"/>
                  <a:pt x="582" y="257"/>
                  <a:pt x="582" y="299"/>
                </a:cubicBezTo>
                <a:cubicBezTo>
                  <a:pt x="582" y="353"/>
                  <a:pt x="569" y="398"/>
                  <a:pt x="543" y="445"/>
                </a:cubicBezTo>
                <a:cubicBezTo>
                  <a:pt x="516" y="491"/>
                  <a:pt x="482" y="524"/>
                  <a:pt x="436" y="551"/>
                </a:cubicBezTo>
                <a:cubicBezTo>
                  <a:pt x="390" y="577"/>
                  <a:pt x="344" y="589"/>
                  <a:pt x="291" y="589"/>
                </a:cubicBezTo>
                <a:cubicBezTo>
                  <a:pt x="237" y="589"/>
                  <a:pt x="191" y="577"/>
                  <a:pt x="145" y="551"/>
                </a:cubicBezTo>
                <a:cubicBezTo>
                  <a:pt x="99" y="524"/>
                  <a:pt x="65" y="491"/>
                  <a:pt x="39" y="445"/>
                </a:cubicBezTo>
                <a:cubicBezTo>
                  <a:pt x="12" y="398"/>
                  <a:pt x="0" y="352"/>
                  <a:pt x="0" y="299"/>
                </a:cubicBezTo>
                <a:cubicBezTo>
                  <a:pt x="0" y="245"/>
                  <a:pt x="12" y="200"/>
                  <a:pt x="39" y="154"/>
                </a:cubicBezTo>
                <a:cubicBezTo>
                  <a:pt x="65" y="108"/>
                  <a:pt x="99" y="73"/>
                  <a:pt x="145" y="47"/>
                </a:cubicBezTo>
                <a:cubicBezTo>
                  <a:pt x="191" y="20"/>
                  <a:pt x="237" y="9"/>
                  <a:pt x="291" y="9"/>
                </a:cubicBezTo>
                <a:cubicBezTo>
                  <a:pt x="333" y="9"/>
                  <a:pt x="369" y="16"/>
                  <a:pt x="407" y="33"/>
                </a:cubicBezTo>
                <a:lnTo>
                  <a:pt x="366" y="74"/>
                </a:lnTo>
                <a:lnTo>
                  <a:pt x="366" y="74"/>
                </a:lnTo>
                <a:cubicBezTo>
                  <a:pt x="341" y="65"/>
                  <a:pt x="318" y="62"/>
                  <a:pt x="290" y="62"/>
                </a:cubicBezTo>
                <a:lnTo>
                  <a:pt x="290" y="62"/>
                </a:lnTo>
                <a:lnTo>
                  <a:pt x="290" y="62"/>
                </a:lnTo>
                <a:cubicBezTo>
                  <a:pt x="247" y="62"/>
                  <a:pt x="209" y="71"/>
                  <a:pt x="171" y="93"/>
                </a:cubicBezTo>
                <a:cubicBezTo>
                  <a:pt x="133" y="115"/>
                  <a:pt x="106" y="142"/>
                  <a:pt x="84" y="180"/>
                </a:cubicBezTo>
                <a:cubicBezTo>
                  <a:pt x="62" y="217"/>
                  <a:pt x="52" y="255"/>
                  <a:pt x="52" y="299"/>
                </a:cubicBezTo>
                <a:cubicBezTo>
                  <a:pt x="52" y="342"/>
                  <a:pt x="62" y="380"/>
                  <a:pt x="84" y="418"/>
                </a:cubicBezTo>
                <a:cubicBezTo>
                  <a:pt x="106" y="456"/>
                  <a:pt x="133" y="483"/>
                  <a:pt x="171" y="505"/>
                </a:cubicBezTo>
                <a:cubicBezTo>
                  <a:pt x="209" y="526"/>
                  <a:pt x="246" y="537"/>
                  <a:pt x="290" y="537"/>
                </a:cubicBezTo>
                <a:cubicBezTo>
                  <a:pt x="333" y="537"/>
                  <a:pt x="371" y="526"/>
                  <a:pt x="409" y="505"/>
                </a:cubicBezTo>
                <a:cubicBezTo>
                  <a:pt x="447" y="483"/>
                  <a:pt x="475" y="456"/>
                  <a:pt x="497" y="418"/>
                </a:cubicBezTo>
                <a:cubicBezTo>
                  <a:pt x="519" y="380"/>
                  <a:pt x="528" y="343"/>
                  <a:pt x="528" y="299"/>
                </a:cubicBezTo>
                <a:lnTo>
                  <a:pt x="528" y="299"/>
                </a:lnTo>
                <a:lnTo>
                  <a:pt x="528" y="299"/>
                </a:lnTo>
                <a:cubicBezTo>
                  <a:pt x="528" y="272"/>
                  <a:pt x="525" y="249"/>
                  <a:pt x="516" y="224"/>
                </a:cubicBezTo>
                <a:lnTo>
                  <a:pt x="557" y="183"/>
                </a:lnTo>
                <a:close/>
                <a:moveTo>
                  <a:pt x="284" y="194"/>
                </a:moveTo>
                <a:lnTo>
                  <a:pt x="331" y="146"/>
                </a:lnTo>
                <a:lnTo>
                  <a:pt x="331" y="146"/>
                </a:lnTo>
                <a:cubicBezTo>
                  <a:pt x="318" y="142"/>
                  <a:pt x="306" y="141"/>
                  <a:pt x="292" y="141"/>
                </a:cubicBezTo>
                <a:cubicBezTo>
                  <a:pt x="291" y="141"/>
                  <a:pt x="291" y="141"/>
                  <a:pt x="290" y="141"/>
                </a:cubicBezTo>
                <a:lnTo>
                  <a:pt x="290" y="141"/>
                </a:lnTo>
                <a:cubicBezTo>
                  <a:pt x="261" y="141"/>
                  <a:pt x="236" y="147"/>
                  <a:pt x="211" y="162"/>
                </a:cubicBezTo>
                <a:cubicBezTo>
                  <a:pt x="186" y="177"/>
                  <a:pt x="168" y="195"/>
                  <a:pt x="153" y="220"/>
                </a:cubicBezTo>
                <a:cubicBezTo>
                  <a:pt x="138" y="245"/>
                  <a:pt x="132" y="269"/>
                  <a:pt x="132" y="299"/>
                </a:cubicBezTo>
                <a:cubicBezTo>
                  <a:pt x="132" y="328"/>
                  <a:pt x="138" y="353"/>
                  <a:pt x="153" y="379"/>
                </a:cubicBezTo>
                <a:cubicBezTo>
                  <a:pt x="168" y="404"/>
                  <a:pt x="186" y="422"/>
                  <a:pt x="211" y="437"/>
                </a:cubicBezTo>
                <a:cubicBezTo>
                  <a:pt x="236" y="451"/>
                  <a:pt x="260" y="458"/>
                  <a:pt x="290" y="458"/>
                </a:cubicBezTo>
                <a:cubicBezTo>
                  <a:pt x="319" y="458"/>
                  <a:pt x="344" y="451"/>
                  <a:pt x="370" y="437"/>
                </a:cubicBezTo>
                <a:cubicBezTo>
                  <a:pt x="395" y="422"/>
                  <a:pt x="413" y="404"/>
                  <a:pt x="428" y="379"/>
                </a:cubicBezTo>
                <a:cubicBezTo>
                  <a:pt x="442" y="353"/>
                  <a:pt x="449" y="329"/>
                  <a:pt x="449" y="299"/>
                </a:cubicBezTo>
                <a:lnTo>
                  <a:pt x="449" y="299"/>
                </a:lnTo>
                <a:lnTo>
                  <a:pt x="449" y="299"/>
                </a:lnTo>
                <a:cubicBezTo>
                  <a:pt x="449" y="284"/>
                  <a:pt x="447" y="272"/>
                  <a:pt x="444" y="258"/>
                </a:cubicBezTo>
                <a:lnTo>
                  <a:pt x="396" y="306"/>
                </a:lnTo>
                <a:lnTo>
                  <a:pt x="396" y="306"/>
                </a:lnTo>
                <a:cubicBezTo>
                  <a:pt x="395" y="323"/>
                  <a:pt x="390" y="336"/>
                  <a:pt x="382" y="352"/>
                </a:cubicBezTo>
                <a:cubicBezTo>
                  <a:pt x="372" y="368"/>
                  <a:pt x="360" y="381"/>
                  <a:pt x="344" y="391"/>
                </a:cubicBezTo>
                <a:cubicBezTo>
                  <a:pt x="327" y="401"/>
                  <a:pt x="310" y="405"/>
                  <a:pt x="291" y="405"/>
                </a:cubicBezTo>
                <a:cubicBezTo>
                  <a:pt x="271" y="405"/>
                  <a:pt x="255" y="401"/>
                  <a:pt x="238" y="391"/>
                </a:cubicBezTo>
                <a:cubicBezTo>
                  <a:pt x="221" y="381"/>
                  <a:pt x="209" y="369"/>
                  <a:pt x="199" y="352"/>
                </a:cubicBezTo>
                <a:cubicBezTo>
                  <a:pt x="189" y="335"/>
                  <a:pt x="185" y="318"/>
                  <a:pt x="185" y="299"/>
                </a:cubicBezTo>
                <a:cubicBezTo>
                  <a:pt x="185" y="279"/>
                  <a:pt x="189" y="263"/>
                  <a:pt x="199" y="246"/>
                </a:cubicBezTo>
                <a:cubicBezTo>
                  <a:pt x="209" y="229"/>
                  <a:pt x="221" y="217"/>
                  <a:pt x="238" y="208"/>
                </a:cubicBezTo>
                <a:cubicBezTo>
                  <a:pt x="253" y="199"/>
                  <a:pt x="267" y="195"/>
                  <a:pt x="284" y="194"/>
                </a:cubicBezTo>
                <a:close/>
                <a:moveTo>
                  <a:pt x="384" y="94"/>
                </a:moveTo>
                <a:lnTo>
                  <a:pt x="384" y="169"/>
                </a:lnTo>
                <a:lnTo>
                  <a:pt x="384" y="169"/>
                </a:lnTo>
                <a:lnTo>
                  <a:pt x="272" y="281"/>
                </a:lnTo>
                <a:lnTo>
                  <a:pt x="272" y="281"/>
                </a:lnTo>
                <a:cubicBezTo>
                  <a:pt x="270" y="282"/>
                  <a:pt x="268" y="283"/>
                  <a:pt x="267" y="286"/>
                </a:cubicBezTo>
                <a:cubicBezTo>
                  <a:pt x="264" y="289"/>
                  <a:pt x="264" y="294"/>
                  <a:pt x="264" y="299"/>
                </a:cubicBezTo>
                <a:cubicBezTo>
                  <a:pt x="264" y="303"/>
                  <a:pt x="264" y="308"/>
                  <a:pt x="267" y="313"/>
                </a:cubicBezTo>
                <a:cubicBezTo>
                  <a:pt x="269" y="317"/>
                  <a:pt x="273" y="319"/>
                  <a:pt x="277" y="322"/>
                </a:cubicBezTo>
                <a:cubicBezTo>
                  <a:pt x="281" y="324"/>
                  <a:pt x="285" y="326"/>
                  <a:pt x="290" y="326"/>
                </a:cubicBezTo>
                <a:cubicBezTo>
                  <a:pt x="294" y="326"/>
                  <a:pt x="299" y="325"/>
                  <a:pt x="304" y="322"/>
                </a:cubicBezTo>
                <a:cubicBezTo>
                  <a:pt x="306" y="321"/>
                  <a:pt x="307" y="320"/>
                  <a:pt x="309" y="318"/>
                </a:cubicBezTo>
                <a:lnTo>
                  <a:pt x="423" y="206"/>
                </a:lnTo>
                <a:lnTo>
                  <a:pt x="498" y="206"/>
                </a:lnTo>
                <a:lnTo>
                  <a:pt x="591" y="113"/>
                </a:lnTo>
                <a:lnTo>
                  <a:pt x="535" y="94"/>
                </a:lnTo>
                <a:lnTo>
                  <a:pt x="554" y="75"/>
                </a:lnTo>
                <a:lnTo>
                  <a:pt x="515" y="38"/>
                </a:lnTo>
                <a:lnTo>
                  <a:pt x="496" y="56"/>
                </a:lnTo>
                <a:lnTo>
                  <a:pt x="477" y="0"/>
                </a:lnTo>
                <a:lnTo>
                  <a:pt x="384" y="9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51" name="Freeform 8">
            <a:extLst>
              <a:ext uri="{FF2B5EF4-FFF2-40B4-BE49-F238E27FC236}">
                <a16:creationId xmlns="" xmlns:a16="http://schemas.microsoft.com/office/drawing/2014/main" id="{292E956F-0FB9-D142-AB12-2696E9609F4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046879" y="3546120"/>
            <a:ext cx="190500" cy="190500"/>
          </a:xfrm>
          <a:custGeom>
            <a:avLst/>
            <a:gdLst>
              <a:gd name="T0" fmla="*/ 476 w 530"/>
              <a:gd name="T1" fmla="*/ 0 h 530"/>
              <a:gd name="T2" fmla="*/ 370 w 530"/>
              <a:gd name="T3" fmla="*/ 0 h 530"/>
              <a:gd name="T4" fmla="*/ 370 w 530"/>
              <a:gd name="T5" fmla="*/ 53 h 530"/>
              <a:gd name="T6" fmla="*/ 438 w 530"/>
              <a:gd name="T7" fmla="*/ 53 h 530"/>
              <a:gd name="T8" fmla="*/ 291 w 530"/>
              <a:gd name="T9" fmla="*/ 201 h 530"/>
              <a:gd name="T10" fmla="*/ 213 w 530"/>
              <a:gd name="T11" fmla="*/ 123 h 530"/>
              <a:gd name="T12" fmla="*/ 53 w 530"/>
              <a:gd name="T13" fmla="*/ 260 h 530"/>
              <a:gd name="T14" fmla="*/ 53 w 530"/>
              <a:gd name="T15" fmla="*/ 212 h 530"/>
              <a:gd name="T16" fmla="*/ 79 w 530"/>
              <a:gd name="T17" fmla="*/ 212 h 530"/>
              <a:gd name="T18" fmla="*/ 79 w 530"/>
              <a:gd name="T19" fmla="*/ 159 h 530"/>
              <a:gd name="T20" fmla="*/ 53 w 530"/>
              <a:gd name="T21" fmla="*/ 159 h 530"/>
              <a:gd name="T22" fmla="*/ 53 w 530"/>
              <a:gd name="T23" fmla="*/ 106 h 530"/>
              <a:gd name="T24" fmla="*/ 79 w 530"/>
              <a:gd name="T25" fmla="*/ 106 h 530"/>
              <a:gd name="T26" fmla="*/ 79 w 530"/>
              <a:gd name="T27" fmla="*/ 53 h 530"/>
              <a:gd name="T28" fmla="*/ 53 w 530"/>
              <a:gd name="T29" fmla="*/ 53 h 530"/>
              <a:gd name="T30" fmla="*/ 53 w 530"/>
              <a:gd name="T31" fmla="*/ 0 h 530"/>
              <a:gd name="T32" fmla="*/ 0 w 530"/>
              <a:gd name="T33" fmla="*/ 0 h 530"/>
              <a:gd name="T34" fmla="*/ 0 w 530"/>
              <a:gd name="T35" fmla="*/ 476 h 530"/>
              <a:gd name="T36" fmla="*/ 0 w 530"/>
              <a:gd name="T37" fmla="*/ 529 h 530"/>
              <a:gd name="T38" fmla="*/ 53 w 530"/>
              <a:gd name="T39" fmla="*/ 529 h 530"/>
              <a:gd name="T40" fmla="*/ 529 w 530"/>
              <a:gd name="T41" fmla="*/ 529 h 530"/>
              <a:gd name="T42" fmla="*/ 529 w 530"/>
              <a:gd name="T43" fmla="*/ 476 h 530"/>
              <a:gd name="T44" fmla="*/ 476 w 530"/>
              <a:gd name="T45" fmla="*/ 476 h 530"/>
              <a:gd name="T46" fmla="*/ 476 w 530"/>
              <a:gd name="T47" fmla="*/ 449 h 530"/>
              <a:gd name="T48" fmla="*/ 423 w 530"/>
              <a:gd name="T49" fmla="*/ 449 h 530"/>
              <a:gd name="T50" fmla="*/ 423 w 530"/>
              <a:gd name="T51" fmla="*/ 476 h 530"/>
              <a:gd name="T52" fmla="*/ 370 w 530"/>
              <a:gd name="T53" fmla="*/ 476 h 530"/>
              <a:gd name="T54" fmla="*/ 370 w 530"/>
              <a:gd name="T55" fmla="*/ 449 h 530"/>
              <a:gd name="T56" fmla="*/ 317 w 530"/>
              <a:gd name="T57" fmla="*/ 449 h 530"/>
              <a:gd name="T58" fmla="*/ 317 w 530"/>
              <a:gd name="T59" fmla="*/ 476 h 530"/>
              <a:gd name="T60" fmla="*/ 264 w 530"/>
              <a:gd name="T61" fmla="*/ 476 h 530"/>
              <a:gd name="T62" fmla="*/ 264 w 530"/>
              <a:gd name="T63" fmla="*/ 449 h 530"/>
              <a:gd name="T64" fmla="*/ 211 w 530"/>
              <a:gd name="T65" fmla="*/ 449 h 530"/>
              <a:gd name="T66" fmla="*/ 211 w 530"/>
              <a:gd name="T67" fmla="*/ 476 h 530"/>
              <a:gd name="T68" fmla="*/ 158 w 530"/>
              <a:gd name="T69" fmla="*/ 476 h 530"/>
              <a:gd name="T70" fmla="*/ 158 w 530"/>
              <a:gd name="T71" fmla="*/ 449 h 530"/>
              <a:gd name="T72" fmla="*/ 105 w 530"/>
              <a:gd name="T73" fmla="*/ 449 h 530"/>
              <a:gd name="T74" fmla="*/ 105 w 530"/>
              <a:gd name="T75" fmla="*/ 476 h 530"/>
              <a:gd name="T76" fmla="*/ 53 w 530"/>
              <a:gd name="T77" fmla="*/ 476 h 530"/>
              <a:gd name="T78" fmla="*/ 53 w 530"/>
              <a:gd name="T79" fmla="*/ 423 h 530"/>
              <a:gd name="T80" fmla="*/ 79 w 530"/>
              <a:gd name="T81" fmla="*/ 423 h 530"/>
              <a:gd name="T82" fmla="*/ 79 w 530"/>
              <a:gd name="T83" fmla="*/ 370 h 530"/>
              <a:gd name="T84" fmla="*/ 53 w 530"/>
              <a:gd name="T85" fmla="*/ 370 h 530"/>
              <a:gd name="T86" fmla="*/ 53 w 530"/>
              <a:gd name="T87" fmla="*/ 329 h 530"/>
              <a:gd name="T88" fmla="*/ 210 w 530"/>
              <a:gd name="T89" fmla="*/ 195 h 530"/>
              <a:gd name="T90" fmla="*/ 291 w 530"/>
              <a:gd name="T91" fmla="*/ 275 h 530"/>
              <a:gd name="T92" fmla="*/ 476 w 530"/>
              <a:gd name="T93" fmla="*/ 90 h 530"/>
              <a:gd name="T94" fmla="*/ 476 w 530"/>
              <a:gd name="T95" fmla="*/ 159 h 530"/>
              <a:gd name="T96" fmla="*/ 529 w 530"/>
              <a:gd name="T97" fmla="*/ 159 h 530"/>
              <a:gd name="T98" fmla="*/ 529 w 530"/>
              <a:gd name="T99" fmla="*/ 53 h 530"/>
              <a:gd name="T100" fmla="*/ 529 w 530"/>
              <a:gd name="T101" fmla="*/ 0 h 530"/>
              <a:gd name="T102" fmla="*/ 476 w 530"/>
              <a:gd name="T103" fmla="*/ 0 h 5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30" h="530">
                <a:moveTo>
                  <a:pt x="476" y="0"/>
                </a:moveTo>
                <a:lnTo>
                  <a:pt x="370" y="0"/>
                </a:lnTo>
                <a:lnTo>
                  <a:pt x="370" y="53"/>
                </a:lnTo>
                <a:lnTo>
                  <a:pt x="438" y="53"/>
                </a:lnTo>
                <a:lnTo>
                  <a:pt x="291" y="201"/>
                </a:lnTo>
                <a:lnTo>
                  <a:pt x="213" y="123"/>
                </a:lnTo>
                <a:lnTo>
                  <a:pt x="53" y="260"/>
                </a:lnTo>
                <a:lnTo>
                  <a:pt x="53" y="212"/>
                </a:lnTo>
                <a:lnTo>
                  <a:pt x="79" y="212"/>
                </a:lnTo>
                <a:lnTo>
                  <a:pt x="79" y="159"/>
                </a:lnTo>
                <a:lnTo>
                  <a:pt x="53" y="159"/>
                </a:lnTo>
                <a:lnTo>
                  <a:pt x="53" y="106"/>
                </a:lnTo>
                <a:lnTo>
                  <a:pt x="79" y="106"/>
                </a:lnTo>
                <a:lnTo>
                  <a:pt x="79" y="53"/>
                </a:lnTo>
                <a:lnTo>
                  <a:pt x="53" y="53"/>
                </a:lnTo>
                <a:lnTo>
                  <a:pt x="53" y="0"/>
                </a:lnTo>
                <a:lnTo>
                  <a:pt x="0" y="0"/>
                </a:lnTo>
                <a:lnTo>
                  <a:pt x="0" y="476"/>
                </a:lnTo>
                <a:lnTo>
                  <a:pt x="0" y="529"/>
                </a:lnTo>
                <a:lnTo>
                  <a:pt x="53" y="529"/>
                </a:lnTo>
                <a:lnTo>
                  <a:pt x="529" y="529"/>
                </a:lnTo>
                <a:lnTo>
                  <a:pt x="529" y="476"/>
                </a:lnTo>
                <a:lnTo>
                  <a:pt x="476" y="476"/>
                </a:lnTo>
                <a:lnTo>
                  <a:pt x="476" y="449"/>
                </a:lnTo>
                <a:lnTo>
                  <a:pt x="423" y="449"/>
                </a:lnTo>
                <a:lnTo>
                  <a:pt x="423" y="476"/>
                </a:lnTo>
                <a:lnTo>
                  <a:pt x="370" y="476"/>
                </a:lnTo>
                <a:lnTo>
                  <a:pt x="370" y="449"/>
                </a:lnTo>
                <a:lnTo>
                  <a:pt x="317" y="449"/>
                </a:lnTo>
                <a:lnTo>
                  <a:pt x="317" y="476"/>
                </a:lnTo>
                <a:lnTo>
                  <a:pt x="264" y="476"/>
                </a:lnTo>
                <a:lnTo>
                  <a:pt x="264" y="449"/>
                </a:lnTo>
                <a:lnTo>
                  <a:pt x="211" y="449"/>
                </a:lnTo>
                <a:lnTo>
                  <a:pt x="211" y="476"/>
                </a:lnTo>
                <a:lnTo>
                  <a:pt x="158" y="476"/>
                </a:lnTo>
                <a:lnTo>
                  <a:pt x="158" y="449"/>
                </a:lnTo>
                <a:lnTo>
                  <a:pt x="105" y="449"/>
                </a:lnTo>
                <a:lnTo>
                  <a:pt x="105" y="476"/>
                </a:lnTo>
                <a:lnTo>
                  <a:pt x="53" y="476"/>
                </a:lnTo>
                <a:lnTo>
                  <a:pt x="53" y="423"/>
                </a:lnTo>
                <a:lnTo>
                  <a:pt x="79" y="423"/>
                </a:lnTo>
                <a:lnTo>
                  <a:pt x="79" y="370"/>
                </a:lnTo>
                <a:lnTo>
                  <a:pt x="53" y="370"/>
                </a:lnTo>
                <a:lnTo>
                  <a:pt x="53" y="329"/>
                </a:lnTo>
                <a:lnTo>
                  <a:pt x="210" y="195"/>
                </a:lnTo>
                <a:lnTo>
                  <a:pt x="291" y="275"/>
                </a:lnTo>
                <a:lnTo>
                  <a:pt x="476" y="90"/>
                </a:lnTo>
                <a:lnTo>
                  <a:pt x="476" y="159"/>
                </a:lnTo>
                <a:lnTo>
                  <a:pt x="529" y="159"/>
                </a:lnTo>
                <a:lnTo>
                  <a:pt x="529" y="53"/>
                </a:lnTo>
                <a:lnTo>
                  <a:pt x="529" y="0"/>
                </a:lnTo>
                <a:lnTo>
                  <a:pt x="476" y="0"/>
                </a:lnTo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52" name="Freeform 51">
            <a:extLst>
              <a:ext uri="{FF2B5EF4-FFF2-40B4-BE49-F238E27FC236}">
                <a16:creationId xmlns="" xmlns:a16="http://schemas.microsoft.com/office/drawing/2014/main" id="{B217514F-A2C4-3945-A692-996F1038398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706438" y="3524843"/>
            <a:ext cx="209191" cy="218716"/>
          </a:xfrm>
          <a:custGeom>
            <a:avLst/>
            <a:gdLst>
              <a:gd name="connsiteX0" fmla="*/ 47625 w 209191"/>
              <a:gd name="connsiteY0" fmla="*/ 200025 h 218716"/>
              <a:gd name="connsiteX1" fmla="*/ 161567 w 209191"/>
              <a:gd name="connsiteY1" fmla="*/ 200025 h 218716"/>
              <a:gd name="connsiteX2" fmla="*/ 161567 w 209191"/>
              <a:gd name="connsiteY2" fmla="*/ 218716 h 218716"/>
              <a:gd name="connsiteX3" fmla="*/ 104596 w 209191"/>
              <a:gd name="connsiteY3" fmla="*/ 218716 h 218716"/>
              <a:gd name="connsiteX4" fmla="*/ 47625 w 209191"/>
              <a:gd name="connsiteY4" fmla="*/ 218716 h 218716"/>
              <a:gd name="connsiteX5" fmla="*/ 85725 w 209191"/>
              <a:gd name="connsiteY5" fmla="*/ 171450 h 218716"/>
              <a:gd name="connsiteX6" fmla="*/ 123469 w 209191"/>
              <a:gd name="connsiteY6" fmla="*/ 171450 h 218716"/>
              <a:gd name="connsiteX7" fmla="*/ 123469 w 209191"/>
              <a:gd name="connsiteY7" fmla="*/ 190147 h 218716"/>
              <a:gd name="connsiteX8" fmla="*/ 104597 w 209191"/>
              <a:gd name="connsiteY8" fmla="*/ 190147 h 218716"/>
              <a:gd name="connsiteX9" fmla="*/ 85725 w 209191"/>
              <a:gd name="connsiteY9" fmla="*/ 190147 h 218716"/>
              <a:gd name="connsiteX10" fmla="*/ 171091 w 209191"/>
              <a:gd name="connsiteY10" fmla="*/ 47498 h 218716"/>
              <a:gd name="connsiteX11" fmla="*/ 164262 w 209191"/>
              <a:gd name="connsiteY11" fmla="*/ 99314 h 218716"/>
              <a:gd name="connsiteX12" fmla="*/ 190141 w 209191"/>
              <a:gd name="connsiteY12" fmla="*/ 47498 h 218716"/>
              <a:gd name="connsiteX13" fmla="*/ 19050 w 209191"/>
              <a:gd name="connsiteY13" fmla="*/ 47498 h 218716"/>
              <a:gd name="connsiteX14" fmla="*/ 44570 w 209191"/>
              <a:gd name="connsiteY14" fmla="*/ 99314 h 218716"/>
              <a:gd name="connsiteX15" fmla="*/ 38100 w 209191"/>
              <a:gd name="connsiteY15" fmla="*/ 47498 h 218716"/>
              <a:gd name="connsiteX16" fmla="*/ 57150 w 209191"/>
              <a:gd name="connsiteY16" fmla="*/ 19071 h 218716"/>
              <a:gd name="connsiteX17" fmla="*/ 57150 w 209191"/>
              <a:gd name="connsiteY17" fmla="*/ 37783 h 218716"/>
              <a:gd name="connsiteX18" fmla="*/ 56791 w 209191"/>
              <a:gd name="connsiteY18" fmla="*/ 42101 h 218716"/>
              <a:gd name="connsiteX19" fmla="*/ 65777 w 209191"/>
              <a:gd name="connsiteY19" fmla="*/ 104352 h 218716"/>
              <a:gd name="connsiteX20" fmla="*/ 66496 w 209191"/>
              <a:gd name="connsiteY20" fmla="*/ 104352 h 218716"/>
              <a:gd name="connsiteX21" fmla="*/ 66496 w 209191"/>
              <a:gd name="connsiteY21" fmla="*/ 105791 h 218716"/>
              <a:gd name="connsiteX22" fmla="*/ 104596 w 209191"/>
              <a:gd name="connsiteY22" fmla="*/ 142494 h 218716"/>
              <a:gd name="connsiteX23" fmla="*/ 142696 w 209191"/>
              <a:gd name="connsiteY23" fmla="*/ 106151 h 218716"/>
              <a:gd name="connsiteX24" fmla="*/ 142696 w 209191"/>
              <a:gd name="connsiteY24" fmla="*/ 104352 h 218716"/>
              <a:gd name="connsiteX25" fmla="*/ 143055 w 209191"/>
              <a:gd name="connsiteY25" fmla="*/ 104352 h 218716"/>
              <a:gd name="connsiteX26" fmla="*/ 152041 w 209191"/>
              <a:gd name="connsiteY26" fmla="*/ 42101 h 218716"/>
              <a:gd name="connsiteX27" fmla="*/ 152041 w 209191"/>
              <a:gd name="connsiteY27" fmla="*/ 37783 h 218716"/>
              <a:gd name="connsiteX28" fmla="*/ 152041 w 209191"/>
              <a:gd name="connsiteY28" fmla="*/ 19071 h 218716"/>
              <a:gd name="connsiteX29" fmla="*/ 38100 w 209191"/>
              <a:gd name="connsiteY29" fmla="*/ 0 h 218716"/>
              <a:gd name="connsiteX30" fmla="*/ 171091 w 209191"/>
              <a:gd name="connsiteY30" fmla="*/ 0 h 218716"/>
              <a:gd name="connsiteX31" fmla="*/ 171091 w 209191"/>
              <a:gd name="connsiteY31" fmla="*/ 28427 h 218716"/>
              <a:gd name="connsiteX32" fmla="*/ 209191 w 209191"/>
              <a:gd name="connsiteY32" fmla="*/ 28427 h 218716"/>
              <a:gd name="connsiteX33" fmla="*/ 209191 w 209191"/>
              <a:gd name="connsiteY33" fmla="*/ 37783 h 218716"/>
              <a:gd name="connsiteX34" fmla="*/ 156713 w 209191"/>
              <a:gd name="connsiteY34" fmla="*/ 121984 h 218716"/>
              <a:gd name="connsiteX35" fmla="*/ 104596 w 209191"/>
              <a:gd name="connsiteY35" fmla="*/ 161565 h 218716"/>
              <a:gd name="connsiteX36" fmla="*/ 52478 w 209191"/>
              <a:gd name="connsiteY36" fmla="*/ 121984 h 218716"/>
              <a:gd name="connsiteX37" fmla="*/ 0 w 209191"/>
              <a:gd name="connsiteY37" fmla="*/ 37783 h 218716"/>
              <a:gd name="connsiteX38" fmla="*/ 0 w 209191"/>
              <a:gd name="connsiteY38" fmla="*/ 28427 h 218716"/>
              <a:gd name="connsiteX39" fmla="*/ 38100 w 209191"/>
              <a:gd name="connsiteY39" fmla="*/ 28427 h 218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09191" h="218716">
                <a:moveTo>
                  <a:pt x="47625" y="200025"/>
                </a:moveTo>
                <a:lnTo>
                  <a:pt x="161567" y="200025"/>
                </a:lnTo>
                <a:lnTo>
                  <a:pt x="161567" y="218716"/>
                </a:lnTo>
                <a:lnTo>
                  <a:pt x="104596" y="218716"/>
                </a:lnTo>
                <a:lnTo>
                  <a:pt x="47625" y="218716"/>
                </a:lnTo>
                <a:close/>
                <a:moveTo>
                  <a:pt x="85725" y="171450"/>
                </a:moveTo>
                <a:lnTo>
                  <a:pt x="123469" y="171450"/>
                </a:lnTo>
                <a:lnTo>
                  <a:pt x="123469" y="190147"/>
                </a:lnTo>
                <a:lnTo>
                  <a:pt x="104597" y="190147"/>
                </a:lnTo>
                <a:lnTo>
                  <a:pt x="85725" y="190147"/>
                </a:lnTo>
                <a:close/>
                <a:moveTo>
                  <a:pt x="171091" y="47498"/>
                </a:moveTo>
                <a:cubicBezTo>
                  <a:pt x="170731" y="65850"/>
                  <a:pt x="168575" y="81322"/>
                  <a:pt x="164262" y="99314"/>
                </a:cubicBezTo>
                <a:cubicBezTo>
                  <a:pt x="182233" y="89958"/>
                  <a:pt x="188344" y="68368"/>
                  <a:pt x="190141" y="47498"/>
                </a:cubicBezTo>
                <a:close/>
                <a:moveTo>
                  <a:pt x="19050" y="47498"/>
                </a:moveTo>
                <a:cubicBezTo>
                  <a:pt x="20488" y="68368"/>
                  <a:pt x="26598" y="89958"/>
                  <a:pt x="44570" y="99314"/>
                </a:cubicBezTo>
                <a:cubicBezTo>
                  <a:pt x="40257" y="81322"/>
                  <a:pt x="38460" y="65850"/>
                  <a:pt x="38100" y="47498"/>
                </a:cubicBezTo>
                <a:close/>
                <a:moveTo>
                  <a:pt x="57150" y="19071"/>
                </a:moveTo>
                <a:lnTo>
                  <a:pt x="57150" y="37783"/>
                </a:lnTo>
                <a:cubicBezTo>
                  <a:pt x="56791" y="39582"/>
                  <a:pt x="56791" y="40661"/>
                  <a:pt x="56791" y="42101"/>
                </a:cubicBezTo>
                <a:cubicBezTo>
                  <a:pt x="56791" y="64410"/>
                  <a:pt x="59666" y="83122"/>
                  <a:pt x="65777" y="104352"/>
                </a:cubicBezTo>
                <a:lnTo>
                  <a:pt x="66496" y="104352"/>
                </a:lnTo>
                <a:lnTo>
                  <a:pt x="66496" y="105791"/>
                </a:lnTo>
                <a:cubicBezTo>
                  <a:pt x="74044" y="127381"/>
                  <a:pt x="85905" y="142494"/>
                  <a:pt x="104596" y="142494"/>
                </a:cubicBezTo>
                <a:cubicBezTo>
                  <a:pt x="122927" y="142494"/>
                  <a:pt x="135147" y="127381"/>
                  <a:pt x="142696" y="106151"/>
                </a:cubicBezTo>
                <a:lnTo>
                  <a:pt x="142696" y="104352"/>
                </a:lnTo>
                <a:lnTo>
                  <a:pt x="143055" y="104352"/>
                </a:lnTo>
                <a:cubicBezTo>
                  <a:pt x="149525" y="83122"/>
                  <a:pt x="152041" y="64410"/>
                  <a:pt x="152041" y="42101"/>
                </a:cubicBezTo>
                <a:cubicBezTo>
                  <a:pt x="152041" y="40661"/>
                  <a:pt x="152041" y="39582"/>
                  <a:pt x="152041" y="37783"/>
                </a:cubicBezTo>
                <a:lnTo>
                  <a:pt x="152041" y="19071"/>
                </a:lnTo>
                <a:close/>
                <a:moveTo>
                  <a:pt x="38100" y="0"/>
                </a:moveTo>
                <a:lnTo>
                  <a:pt x="171091" y="0"/>
                </a:lnTo>
                <a:lnTo>
                  <a:pt x="171091" y="28427"/>
                </a:lnTo>
                <a:lnTo>
                  <a:pt x="209191" y="28427"/>
                </a:lnTo>
                <a:lnTo>
                  <a:pt x="209191" y="37783"/>
                </a:lnTo>
                <a:cubicBezTo>
                  <a:pt x="209191" y="85640"/>
                  <a:pt x="190141" y="115507"/>
                  <a:pt x="156713" y="121984"/>
                </a:cubicBezTo>
                <a:cubicBezTo>
                  <a:pt x="145212" y="147532"/>
                  <a:pt x="127599" y="161565"/>
                  <a:pt x="104596" y="161565"/>
                </a:cubicBezTo>
                <a:cubicBezTo>
                  <a:pt x="81592" y="161565"/>
                  <a:pt x="63620" y="147532"/>
                  <a:pt x="52478" y="121984"/>
                </a:cubicBezTo>
                <a:cubicBezTo>
                  <a:pt x="19050" y="115507"/>
                  <a:pt x="0" y="85640"/>
                  <a:pt x="0" y="37783"/>
                </a:cubicBezTo>
                <a:lnTo>
                  <a:pt x="0" y="28427"/>
                </a:lnTo>
                <a:lnTo>
                  <a:pt x="38100" y="2842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ru-RU"/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9B6A97AE-DB20-49F5-BDCB-F5C93ABAFC34}"/>
              </a:ext>
            </a:extLst>
          </p:cNvPr>
          <p:cNvSpPr txBox="1"/>
          <p:nvPr userDrawn="1"/>
        </p:nvSpPr>
        <p:spPr>
          <a:xfrm>
            <a:off x="11500581" y="6547344"/>
            <a:ext cx="5397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46E38A9C-1233-5B4D-A1AE-A7549B261D49}" type="slidenum">
              <a:rPr lang="en-US" sz="1200" smtClean="0">
                <a:solidFill>
                  <a:schemeClr val="tx1">
                    <a:alpha val="68000"/>
                  </a:schemeClr>
                </a:solidFill>
              </a:rPr>
              <a:pPr algn="ctr"/>
              <a:t>‹#›</a:t>
            </a:fld>
            <a:endParaRPr lang="en-US" sz="1200" dirty="0">
              <a:solidFill>
                <a:schemeClr val="tx1">
                  <a:alpha val="68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4429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: Дэшбор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6364BA47-5A5A-1042-809F-A11F25E27FBA}"/>
              </a:ext>
            </a:extLst>
          </p:cNvPr>
          <p:cNvSpPr/>
          <p:nvPr userDrawn="1"/>
        </p:nvSpPr>
        <p:spPr>
          <a:xfrm>
            <a:off x="0" y="5184178"/>
            <a:ext cx="12192000" cy="16738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algn="ctr" rotWithShape="0">
              <a:schemeClr val="tx1"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72CC20C-CF57-C947-95A7-B9B5F59AD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3E4BF9B0-05C2-FC46-950D-720C936ACFCD}"/>
              </a:ext>
            </a:extLst>
          </p:cNvPr>
          <p:cNvSpPr/>
          <p:nvPr userDrawn="1"/>
        </p:nvSpPr>
        <p:spPr>
          <a:xfrm>
            <a:off x="0" y="956765"/>
            <a:ext cx="12192000" cy="401725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algn="ctr" rotWithShape="0">
              <a:schemeClr val="tx1"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08828E4F-2A57-CC40-A596-A0F598298AA6}"/>
              </a:ext>
            </a:extLst>
          </p:cNvPr>
          <p:cNvSpPr txBox="1"/>
          <p:nvPr userDrawn="1"/>
        </p:nvSpPr>
        <p:spPr>
          <a:xfrm rot="16200000">
            <a:off x="-1753189" y="2842283"/>
            <a:ext cx="40172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ru-RU" sz="1600" b="1" dirty="0"/>
              <a:t>Результаты </a:t>
            </a:r>
            <a:r>
              <a:rPr lang="en-US" sz="1600" b="1" dirty="0"/>
              <a:t>2017</a:t>
            </a:r>
            <a:endParaRPr lang="ru-RU" sz="1600" b="1" dirty="0"/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1E581CF7-780D-0B43-B0B2-B0E60C28D9B5}"/>
              </a:ext>
            </a:extLst>
          </p:cNvPr>
          <p:cNvSpPr txBox="1"/>
          <p:nvPr userDrawn="1"/>
        </p:nvSpPr>
        <p:spPr>
          <a:xfrm rot="16200000">
            <a:off x="-345685" y="5825463"/>
            <a:ext cx="120225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600" b="1" dirty="0"/>
              <a:t>Планы </a:t>
            </a:r>
            <a:r>
              <a:rPr lang="en-US" sz="1600" b="1" dirty="0"/>
              <a:t>2018</a:t>
            </a:r>
            <a:endParaRPr lang="ru-RU" sz="1600" b="1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="" xmlns:a16="http://schemas.microsoft.com/office/drawing/2014/main" id="{50653E30-5481-4C43-A031-FEBE3DE58384}"/>
              </a:ext>
            </a:extLst>
          </p:cNvPr>
          <p:cNvCxnSpPr>
            <a:cxnSpLocks/>
          </p:cNvCxnSpPr>
          <p:nvPr userDrawn="1"/>
        </p:nvCxnSpPr>
        <p:spPr>
          <a:xfrm>
            <a:off x="550863" y="956763"/>
            <a:ext cx="0" cy="4017259"/>
          </a:xfrm>
          <a:prstGeom prst="line">
            <a:avLst/>
          </a:prstGeom>
          <a:ln w="63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35688005-115E-234C-8734-F98B832170EA}"/>
              </a:ext>
            </a:extLst>
          </p:cNvPr>
          <p:cNvCxnSpPr>
            <a:cxnSpLocks/>
          </p:cNvCxnSpPr>
          <p:nvPr userDrawn="1"/>
        </p:nvCxnSpPr>
        <p:spPr>
          <a:xfrm>
            <a:off x="550863" y="5184180"/>
            <a:ext cx="0" cy="1815711"/>
          </a:xfrm>
          <a:prstGeom prst="line">
            <a:avLst/>
          </a:prstGeom>
          <a:ln w="63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8EA7C0B6-EC69-44DF-8FC0-CA6B298D1876}"/>
              </a:ext>
            </a:extLst>
          </p:cNvPr>
          <p:cNvSpPr txBox="1"/>
          <p:nvPr userDrawn="1"/>
        </p:nvSpPr>
        <p:spPr>
          <a:xfrm>
            <a:off x="11500581" y="6547344"/>
            <a:ext cx="5397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46E38A9C-1233-5B4D-A1AE-A7549B261D49}" type="slidenum">
              <a:rPr lang="en-US" sz="1200" smtClean="0">
                <a:solidFill>
                  <a:schemeClr val="tx1">
                    <a:alpha val="68000"/>
                  </a:schemeClr>
                </a:solidFill>
              </a:rPr>
              <a:pPr algn="ctr"/>
              <a:t>‹#›</a:t>
            </a:fld>
            <a:endParaRPr lang="en-US" sz="1200" dirty="0">
              <a:solidFill>
                <a:schemeClr val="tx1">
                  <a:alpha val="68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270762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2CF4A077-B9AE-4460-8DE9-1BBD6BE7C2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189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43DC8555-40F7-40D8-A9D8-220B0A5B49C1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600" b="1" i="0" baseline="0" dirty="0"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  <a:sym typeface="Open Sans Extrabold" panose="020B0906030804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0864" y="2"/>
            <a:ext cx="11090275" cy="789411"/>
          </a:xfrm>
          <a:prstGeom prst="rect">
            <a:avLst/>
          </a:prstGeom>
        </p:spPr>
        <p:txBody>
          <a:bodyPr vert="horz" wrap="square" lIns="0" tIns="288000" rIns="0" bIns="0" rtlCol="0" anchor="t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B7748C51-BC02-4DE5-AFCA-8D06E07E4F83}"/>
              </a:ext>
            </a:extLst>
          </p:cNvPr>
          <p:cNvSpPr txBox="1"/>
          <p:nvPr userDrawn="1"/>
        </p:nvSpPr>
        <p:spPr>
          <a:xfrm>
            <a:off x="11500581" y="6547344"/>
            <a:ext cx="5397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46E38A9C-1233-5B4D-A1AE-A7549B261D49}" type="slidenum">
              <a:rPr lang="en-US" sz="1200" smtClean="0">
                <a:solidFill>
                  <a:schemeClr val="tx1">
                    <a:alpha val="68000"/>
                  </a:schemeClr>
                </a:solidFill>
              </a:rPr>
              <a:pPr algn="ctr"/>
              <a:t>‹#›</a:t>
            </a:fld>
            <a:endParaRPr lang="en-US" sz="1200" dirty="0">
              <a:solidFill>
                <a:schemeClr val="tx1">
                  <a:alpha val="68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288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Open Sans Extrabold" panose="020B0606030504020204" pitchFamily="34" charset="0"/>
          <a:ea typeface="Open Sans Extrabold" panose="020B0606030504020204" pitchFamily="34" charset="0"/>
          <a:cs typeface="Open Sans Extrabold" panose="020B060603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47">
          <p15:clr>
            <a:srgbClr val="F26B43"/>
          </p15:clr>
        </p15:guide>
        <p15:guide id="2" pos="7333">
          <p15:clr>
            <a:srgbClr val="F26B43"/>
          </p15:clr>
        </p15:guide>
        <p15:guide id="3" pos="3840">
          <p15:clr>
            <a:srgbClr val="F26B43"/>
          </p15:clr>
        </p15:guide>
        <p15:guide id="4" orient="horz" pos="4315">
          <p15:clr>
            <a:srgbClr val="F26B43"/>
          </p15:clr>
        </p15:guide>
        <p15:guide id="5" orient="horz" pos="414">
          <p15:clr>
            <a:srgbClr val="F26B43"/>
          </p15:clr>
        </p15:guide>
        <p15:guide id="6" orient="horz">
          <p15:clr>
            <a:srgbClr val="F26B43"/>
          </p15:clr>
        </p15:guide>
        <p15:guide id="7" pos="7673">
          <p15:clr>
            <a:srgbClr val="F26B43"/>
          </p15:clr>
        </p15:guide>
        <p15:guide id="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>Памятка родителям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ru-RU" sz="1800" dirty="0"/>
              <a:t>Родителю или законному представителю обратиться в администрацию школы с документами:</a:t>
            </a:r>
          </a:p>
          <a:p>
            <a:r>
              <a:rPr lang="ru-RU" sz="1800" dirty="0"/>
              <a:t>-          свидетельство о рождении ребенка </a:t>
            </a:r>
          </a:p>
          <a:p>
            <a:r>
              <a:rPr lang="ru-RU" sz="1800" dirty="0"/>
              <a:t>-          СНИЛС ребенка</a:t>
            </a:r>
          </a:p>
          <a:p>
            <a:r>
              <a:rPr lang="ru-RU" sz="1800" dirty="0"/>
              <a:t>-          фотографию ребенка</a:t>
            </a:r>
          </a:p>
          <a:p>
            <a:r>
              <a:rPr lang="ru-RU" sz="1800" dirty="0"/>
              <a:t>-          документ, удостоверяющий личность представителя несовершеннолетнего</a:t>
            </a:r>
          </a:p>
          <a:p>
            <a:r>
              <a:rPr lang="ru-RU" sz="1800" dirty="0"/>
              <a:t>-          документ, подтверждающий полномочия представителя несовершеннолетнего обучающегося право законного представителя</a:t>
            </a:r>
          </a:p>
          <a:p>
            <a:r>
              <a:rPr lang="ru-RU" sz="1800" dirty="0"/>
              <a:t>-          документ, подтверждающий право на предоставление мер социальной поддержки обучающегося с наименованием льготы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8967AF-66C8-4A94-9E5A-E6AC94D4ABE8}" type="slidenum">
              <a:rPr lang="ru-RU" altLang="ru-RU" smtClean="0"/>
              <a:pPr>
                <a:defRPr/>
              </a:pPr>
              <a:t>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634739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1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MetvqRKSJPeK41awFhg"/>
</p:tagLst>
</file>

<file path=ppt/theme/theme1.xml><?xml version="1.0" encoding="utf-8"?>
<a:theme xmlns:a="http://schemas.openxmlformats.org/drawingml/2006/main" name="1_Тема Office">
  <a:themeElements>
    <a:clrScheme name="Sberbank Web Pastel">
      <a:dk1>
        <a:srgbClr val="464E5F"/>
      </a:dk1>
      <a:lt1>
        <a:srgbClr val="FFFFFF"/>
      </a:lt1>
      <a:dk2>
        <a:srgbClr val="008278"/>
      </a:dk2>
      <a:lt2>
        <a:srgbClr val="F2F4F6"/>
      </a:lt2>
      <a:accent1>
        <a:srgbClr val="15AC98"/>
      </a:accent1>
      <a:accent2>
        <a:srgbClr val="00D2B4"/>
      </a:accent2>
      <a:accent3>
        <a:srgbClr val="5BD070"/>
      </a:accent3>
      <a:accent4>
        <a:srgbClr val="F0DC14"/>
      </a:accent4>
      <a:accent5>
        <a:srgbClr val="F89B37"/>
      </a:accent5>
      <a:accent6>
        <a:srgbClr val="FF5A5A"/>
      </a:accent6>
      <a:hlink>
        <a:srgbClr val="0054F5"/>
      </a:hlink>
      <a:folHlink>
        <a:srgbClr val="954F72"/>
      </a:folHlink>
    </a:clrScheme>
    <a:fontScheme name="Open Sans">
      <a:majorFont>
        <a:latin typeface="Open Sans Extrabold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290</TotalTime>
  <Words>15</Words>
  <Application>Microsoft Office PowerPoint</Application>
  <PresentationFormat>Произвольный</PresentationFormat>
  <Paragraphs>9</Paragraphs>
  <Slides>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3" baseType="lpstr">
      <vt:lpstr>1_Тема Office</vt:lpstr>
      <vt:lpstr>think-cell Slide</vt:lpstr>
      <vt:lpstr>Памятка родителям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Vasily Panchishko</dc:creator>
  <cp:lastModifiedBy>school</cp:lastModifiedBy>
  <cp:revision>4853</cp:revision>
  <cp:lastPrinted>2018-03-01T19:46:27Z</cp:lastPrinted>
  <dcterms:created xsi:type="dcterms:W3CDTF">2016-09-01T06:25:26Z</dcterms:created>
  <dcterms:modified xsi:type="dcterms:W3CDTF">2021-04-08T08:56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742326927</vt:i4>
  </property>
  <property fmtid="{D5CDD505-2E9C-101B-9397-08002B2CF9AE}" pid="3" name="_NewReviewCycle">
    <vt:lpwstr/>
  </property>
  <property fmtid="{D5CDD505-2E9C-101B-9397-08002B2CF9AE}" pid="4" name="_EmailSubject">
    <vt:lpwstr>Инструкции ЕСПБ</vt:lpwstr>
  </property>
  <property fmtid="{D5CDD505-2E9C-101B-9397-08002B2CF9AE}" pid="5" name="_AuthorEmail">
    <vt:lpwstr>v.emelyanov@ric-orel.ru</vt:lpwstr>
  </property>
  <property fmtid="{D5CDD505-2E9C-101B-9397-08002B2CF9AE}" pid="6" name="_AuthorEmailDisplayName">
    <vt:lpwstr>Емельянов Владимир</vt:lpwstr>
  </property>
</Properties>
</file>